
<file path=[Content_Types].xml><?xml version="1.0" encoding="utf-8"?>
<Types xmlns="http://schemas.openxmlformats.org/package/2006/content-types">
  <Default Extension="png" ContentType="image/png"/>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notesSlides/notesSlide1.xml" ContentType="application/vnd.openxmlformats-officedocument.presentationml.notesSlide+xml"/>
  <Override PartName="/ppt/theme/theme2.xml" ContentType="application/vnd.openxmlformats-officedocument.theme+xml"/>
  <Override PartName="/ppt/theme/theme3.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layout2.xml" ContentType="application/vnd.openxmlformats-officedocument.drawingml.diagramLayout+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diagrams/drawing1.xml" ContentType="application/vnd.ms-office.drawingml.diagramDrawing+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3"/>
  </p:notesMasterIdLst>
  <p:handoutMasterIdLst>
    <p:handoutMasterId r:id="rId34"/>
  </p:handoutMasterIdLst>
  <p:sldIdLst>
    <p:sldId id="256" r:id="rId2"/>
    <p:sldId id="302" r:id="rId3"/>
    <p:sldId id="275" r:id="rId4"/>
    <p:sldId id="347" r:id="rId5"/>
    <p:sldId id="348" r:id="rId6"/>
    <p:sldId id="349" r:id="rId7"/>
    <p:sldId id="350" r:id="rId8"/>
    <p:sldId id="351" r:id="rId9"/>
    <p:sldId id="352" r:id="rId10"/>
    <p:sldId id="354" r:id="rId11"/>
    <p:sldId id="353" r:id="rId12"/>
    <p:sldId id="355" r:id="rId13"/>
    <p:sldId id="356" r:id="rId14"/>
    <p:sldId id="357" r:id="rId15"/>
    <p:sldId id="358" r:id="rId16"/>
    <p:sldId id="359" r:id="rId17"/>
    <p:sldId id="360" r:id="rId18"/>
    <p:sldId id="361" r:id="rId19"/>
    <p:sldId id="362" r:id="rId20"/>
    <p:sldId id="363" r:id="rId21"/>
    <p:sldId id="364" r:id="rId22"/>
    <p:sldId id="365" r:id="rId23"/>
    <p:sldId id="370" r:id="rId24"/>
    <p:sldId id="366" r:id="rId25"/>
    <p:sldId id="367" r:id="rId26"/>
    <p:sldId id="368" r:id="rId27"/>
    <p:sldId id="369" r:id="rId28"/>
    <p:sldId id="371" r:id="rId29"/>
    <p:sldId id="372" r:id="rId30"/>
    <p:sldId id="373" r:id="rId31"/>
    <p:sldId id="374" r:id="rId3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snapToGrid="0">
      <p:cViewPr varScale="1">
        <p:scale>
          <a:sx n="66" d="100"/>
          <a:sy n="66" d="100"/>
        </p:scale>
        <p:origin x="223"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ustomXml" Target="../customXml/item1.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40"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04D170-A960-410A-8E61-5832318B1EFA}" type="doc">
      <dgm:prSet loTypeId="urn:microsoft.com/office/officeart/2005/8/layout/hProcess11" loCatId="process" qsTypeId="urn:microsoft.com/office/officeart/2005/8/quickstyle/simple1" qsCatId="simple" csTypeId="urn:microsoft.com/office/officeart/2005/8/colors/colorful1" csCatId="colorful" phldr="1"/>
      <dgm:spPr/>
    </dgm:pt>
    <dgm:pt modelId="{9DE1C071-E45D-4068-B37C-78251E7216C2}">
      <dgm:prSet phldrT="[Text]" custT="1"/>
      <dgm:spPr/>
      <dgm:t>
        <a:bodyPr/>
        <a:lstStyle/>
        <a:p>
          <a:r>
            <a:rPr lang="en-IN" sz="1600" b="1" dirty="0"/>
            <a:t>Angular 1.3</a:t>
          </a:r>
        </a:p>
      </dgm:t>
    </dgm:pt>
    <dgm:pt modelId="{317AE8EB-A525-404A-A0B9-F69ED35344F3}" type="parTrans" cxnId="{81DD1919-3F24-4BEF-A060-3BCDF696ECE5}">
      <dgm:prSet/>
      <dgm:spPr/>
      <dgm:t>
        <a:bodyPr/>
        <a:lstStyle/>
        <a:p>
          <a:endParaRPr lang="en-IN"/>
        </a:p>
      </dgm:t>
    </dgm:pt>
    <dgm:pt modelId="{412FFF3A-91A2-4487-907D-14D37295F953}" type="sibTrans" cxnId="{81DD1919-3F24-4BEF-A060-3BCDF696ECE5}">
      <dgm:prSet/>
      <dgm:spPr/>
      <dgm:t>
        <a:bodyPr/>
        <a:lstStyle/>
        <a:p>
          <a:endParaRPr lang="en-IN"/>
        </a:p>
      </dgm:t>
    </dgm:pt>
    <dgm:pt modelId="{55D9FDCA-9C76-49DC-BAC1-09030C175566}">
      <dgm:prSet phldrT="[Text]" custT="1"/>
      <dgm:spPr/>
      <dgm:t>
        <a:bodyPr/>
        <a:lstStyle/>
        <a:p>
          <a:r>
            <a:rPr lang="en-IN" sz="1600" b="1" dirty="0"/>
            <a:t>Angular 1.4</a:t>
          </a:r>
        </a:p>
      </dgm:t>
    </dgm:pt>
    <dgm:pt modelId="{B6AD0464-DD73-4267-B0F3-3C2299166754}" type="parTrans" cxnId="{0F6F957A-F2C1-43A9-A41C-C2CDBDC90F7C}">
      <dgm:prSet/>
      <dgm:spPr/>
      <dgm:t>
        <a:bodyPr/>
        <a:lstStyle/>
        <a:p>
          <a:endParaRPr lang="en-IN"/>
        </a:p>
      </dgm:t>
    </dgm:pt>
    <dgm:pt modelId="{17BC5828-4489-4344-994C-9E5042D48F32}" type="sibTrans" cxnId="{0F6F957A-F2C1-43A9-A41C-C2CDBDC90F7C}">
      <dgm:prSet/>
      <dgm:spPr/>
      <dgm:t>
        <a:bodyPr/>
        <a:lstStyle/>
        <a:p>
          <a:endParaRPr lang="en-IN"/>
        </a:p>
      </dgm:t>
    </dgm:pt>
    <dgm:pt modelId="{DD645B5E-0CF3-4003-BAE6-9E30A0253C21}">
      <dgm:prSet phldrT="[Text]" custT="1"/>
      <dgm:spPr/>
      <dgm:t>
        <a:bodyPr/>
        <a:lstStyle/>
        <a:p>
          <a:r>
            <a:rPr lang="en-IN" sz="1600" b="1" dirty="0"/>
            <a:t>Angular 1.5</a:t>
          </a:r>
        </a:p>
      </dgm:t>
    </dgm:pt>
    <dgm:pt modelId="{9C7F7B0C-D264-49C3-942B-DA0D2FAA00C8}" type="parTrans" cxnId="{4882F5A9-C2B6-4D9A-B047-9EC3B0748B68}">
      <dgm:prSet/>
      <dgm:spPr/>
      <dgm:t>
        <a:bodyPr/>
        <a:lstStyle/>
        <a:p>
          <a:endParaRPr lang="en-IN"/>
        </a:p>
      </dgm:t>
    </dgm:pt>
    <dgm:pt modelId="{54602D8C-3FB8-400D-A7B9-A6E91A051F5B}" type="sibTrans" cxnId="{4882F5A9-C2B6-4D9A-B047-9EC3B0748B68}">
      <dgm:prSet/>
      <dgm:spPr/>
      <dgm:t>
        <a:bodyPr/>
        <a:lstStyle/>
        <a:p>
          <a:endParaRPr lang="en-IN"/>
        </a:p>
      </dgm:t>
    </dgm:pt>
    <dgm:pt modelId="{8CA2F663-1607-44DA-AE3A-3FAAAB4F0869}">
      <dgm:prSet custT="1"/>
      <dgm:spPr/>
      <dgm:t>
        <a:bodyPr/>
        <a:lstStyle/>
        <a:p>
          <a:r>
            <a:rPr lang="en-IN" sz="1600" b="1" dirty="0"/>
            <a:t>Angular 1.6</a:t>
          </a:r>
        </a:p>
      </dgm:t>
    </dgm:pt>
    <dgm:pt modelId="{4C3A6EFD-E6C1-40DB-9E71-72D59B56C427}" type="parTrans" cxnId="{57258BF7-9989-4D06-8932-8A729817333B}">
      <dgm:prSet/>
      <dgm:spPr/>
      <dgm:t>
        <a:bodyPr/>
        <a:lstStyle/>
        <a:p>
          <a:endParaRPr lang="en-IN"/>
        </a:p>
      </dgm:t>
    </dgm:pt>
    <dgm:pt modelId="{C2D9F75D-108B-47AA-B9A1-4CE0CE5BED3F}" type="sibTrans" cxnId="{57258BF7-9989-4D06-8932-8A729817333B}">
      <dgm:prSet/>
      <dgm:spPr/>
      <dgm:t>
        <a:bodyPr/>
        <a:lstStyle/>
        <a:p>
          <a:endParaRPr lang="en-IN"/>
        </a:p>
      </dgm:t>
    </dgm:pt>
    <dgm:pt modelId="{26EEA2E9-8C38-4B1F-8003-4C860BA8EED6}">
      <dgm:prSet custT="1"/>
      <dgm:spPr/>
      <dgm:t>
        <a:bodyPr/>
        <a:lstStyle/>
        <a:p>
          <a:r>
            <a:rPr lang="en-IN" sz="1600" b="1" dirty="0"/>
            <a:t>Angular 2.0</a:t>
          </a:r>
        </a:p>
      </dgm:t>
    </dgm:pt>
    <dgm:pt modelId="{2917F2B1-4A5A-41C7-941B-A78784847FB9}" type="parTrans" cxnId="{FE0938B6-F324-49D9-8EAD-956C8A3E6096}">
      <dgm:prSet/>
      <dgm:spPr/>
      <dgm:t>
        <a:bodyPr/>
        <a:lstStyle/>
        <a:p>
          <a:endParaRPr lang="en-IN"/>
        </a:p>
      </dgm:t>
    </dgm:pt>
    <dgm:pt modelId="{55EEC4CA-F7E9-489A-AFBC-3EB51A1C4059}" type="sibTrans" cxnId="{FE0938B6-F324-49D9-8EAD-956C8A3E6096}">
      <dgm:prSet/>
      <dgm:spPr/>
      <dgm:t>
        <a:bodyPr/>
        <a:lstStyle/>
        <a:p>
          <a:endParaRPr lang="en-IN"/>
        </a:p>
      </dgm:t>
    </dgm:pt>
    <dgm:pt modelId="{E787D04E-1775-499D-98C1-CB5DF684154C}">
      <dgm:prSet custT="1"/>
      <dgm:spPr/>
      <dgm:t>
        <a:bodyPr/>
        <a:lstStyle/>
        <a:p>
          <a:r>
            <a:rPr lang="en-IN" sz="1600" b="1" dirty="0"/>
            <a:t>Angular 4</a:t>
          </a:r>
        </a:p>
      </dgm:t>
    </dgm:pt>
    <dgm:pt modelId="{BFDBC3B6-11EB-44D6-A1EE-05E612A0FF54}" type="parTrans" cxnId="{8B3589CD-0C41-45CD-A2DB-929B4D5C86CF}">
      <dgm:prSet/>
      <dgm:spPr/>
      <dgm:t>
        <a:bodyPr/>
        <a:lstStyle/>
        <a:p>
          <a:endParaRPr lang="en-IN"/>
        </a:p>
      </dgm:t>
    </dgm:pt>
    <dgm:pt modelId="{971DF160-DCA7-4310-A14A-8058A8B86FEF}" type="sibTrans" cxnId="{8B3589CD-0C41-45CD-A2DB-929B4D5C86CF}">
      <dgm:prSet/>
      <dgm:spPr/>
      <dgm:t>
        <a:bodyPr/>
        <a:lstStyle/>
        <a:p>
          <a:endParaRPr lang="en-IN"/>
        </a:p>
      </dgm:t>
    </dgm:pt>
    <dgm:pt modelId="{6D1A398E-C461-465B-9DC5-E21922F52970}" type="pres">
      <dgm:prSet presAssocID="{5C04D170-A960-410A-8E61-5832318B1EFA}" presName="Name0" presStyleCnt="0">
        <dgm:presLayoutVars>
          <dgm:dir/>
          <dgm:resizeHandles val="exact"/>
        </dgm:presLayoutVars>
      </dgm:prSet>
      <dgm:spPr/>
    </dgm:pt>
    <dgm:pt modelId="{B9DF7577-DB65-4F72-84A0-344D1FEE1131}" type="pres">
      <dgm:prSet presAssocID="{5C04D170-A960-410A-8E61-5832318B1EFA}" presName="arrow" presStyleLbl="bgShp" presStyleIdx="0" presStyleCnt="1"/>
      <dgm:spPr/>
    </dgm:pt>
    <dgm:pt modelId="{3903B751-E974-489F-BD49-33F8923AEE3E}" type="pres">
      <dgm:prSet presAssocID="{5C04D170-A960-410A-8E61-5832318B1EFA}" presName="points" presStyleCnt="0"/>
      <dgm:spPr/>
    </dgm:pt>
    <dgm:pt modelId="{A9429AA7-7022-458C-915D-FC3310BCF536}" type="pres">
      <dgm:prSet presAssocID="{9DE1C071-E45D-4068-B37C-78251E7216C2}" presName="compositeA" presStyleCnt="0"/>
      <dgm:spPr/>
    </dgm:pt>
    <dgm:pt modelId="{31147F4C-54E9-4F9A-A775-D327FEFF0A5C}" type="pres">
      <dgm:prSet presAssocID="{9DE1C071-E45D-4068-B37C-78251E7216C2}" presName="textA" presStyleLbl="revTx" presStyleIdx="0" presStyleCnt="6" custScaleX="202605">
        <dgm:presLayoutVars>
          <dgm:bulletEnabled val="1"/>
        </dgm:presLayoutVars>
      </dgm:prSet>
      <dgm:spPr/>
    </dgm:pt>
    <dgm:pt modelId="{DDE6F720-F9B0-42A7-A629-17F510BC3576}" type="pres">
      <dgm:prSet presAssocID="{9DE1C071-E45D-4068-B37C-78251E7216C2}" presName="circleA" presStyleLbl="node1" presStyleIdx="0" presStyleCnt="6"/>
      <dgm:spPr/>
    </dgm:pt>
    <dgm:pt modelId="{55FE855E-88A7-456B-886B-6BE4A4D7E5B3}" type="pres">
      <dgm:prSet presAssocID="{9DE1C071-E45D-4068-B37C-78251E7216C2}" presName="spaceA" presStyleCnt="0"/>
      <dgm:spPr/>
    </dgm:pt>
    <dgm:pt modelId="{77040E75-ED48-4D1C-AECA-0C6C4C6E3667}" type="pres">
      <dgm:prSet presAssocID="{412FFF3A-91A2-4487-907D-14D37295F953}" presName="space" presStyleCnt="0"/>
      <dgm:spPr/>
    </dgm:pt>
    <dgm:pt modelId="{A74AE792-4635-4ECF-800E-1443BD6F1452}" type="pres">
      <dgm:prSet presAssocID="{55D9FDCA-9C76-49DC-BAC1-09030C175566}" presName="compositeB" presStyleCnt="0"/>
      <dgm:spPr/>
    </dgm:pt>
    <dgm:pt modelId="{0A0EE2CA-8315-4C14-A2FB-9490F7874303}" type="pres">
      <dgm:prSet presAssocID="{55D9FDCA-9C76-49DC-BAC1-09030C175566}" presName="textB" presStyleLbl="revTx" presStyleIdx="1" presStyleCnt="6" custScaleX="233194">
        <dgm:presLayoutVars>
          <dgm:bulletEnabled val="1"/>
        </dgm:presLayoutVars>
      </dgm:prSet>
      <dgm:spPr/>
    </dgm:pt>
    <dgm:pt modelId="{208B285B-DCE1-40FA-94DE-1D10BCFCF0E5}" type="pres">
      <dgm:prSet presAssocID="{55D9FDCA-9C76-49DC-BAC1-09030C175566}" presName="circleB" presStyleLbl="node1" presStyleIdx="1" presStyleCnt="6"/>
      <dgm:spPr/>
    </dgm:pt>
    <dgm:pt modelId="{9B0AFA68-E206-46FB-94B8-DBC39AE93F44}" type="pres">
      <dgm:prSet presAssocID="{55D9FDCA-9C76-49DC-BAC1-09030C175566}" presName="spaceB" presStyleCnt="0"/>
      <dgm:spPr/>
    </dgm:pt>
    <dgm:pt modelId="{4E7235DD-6F5D-43BF-90CE-E0785BD623D5}" type="pres">
      <dgm:prSet presAssocID="{17BC5828-4489-4344-994C-9E5042D48F32}" presName="space" presStyleCnt="0"/>
      <dgm:spPr/>
    </dgm:pt>
    <dgm:pt modelId="{FE93EF19-C6FF-4D3D-B731-402355332324}" type="pres">
      <dgm:prSet presAssocID="{DD645B5E-0CF3-4003-BAE6-9E30A0253C21}" presName="compositeA" presStyleCnt="0"/>
      <dgm:spPr/>
    </dgm:pt>
    <dgm:pt modelId="{6712C844-E315-4639-B72F-BD39B5DDC9C9}" type="pres">
      <dgm:prSet presAssocID="{DD645B5E-0CF3-4003-BAE6-9E30A0253C21}" presName="textA" presStyleLbl="revTx" presStyleIdx="2" presStyleCnt="6" custScaleX="216090">
        <dgm:presLayoutVars>
          <dgm:bulletEnabled val="1"/>
        </dgm:presLayoutVars>
      </dgm:prSet>
      <dgm:spPr/>
    </dgm:pt>
    <dgm:pt modelId="{E6E98A49-B588-459B-9F3C-98360859EF84}" type="pres">
      <dgm:prSet presAssocID="{DD645B5E-0CF3-4003-BAE6-9E30A0253C21}" presName="circleA" presStyleLbl="node1" presStyleIdx="2" presStyleCnt="6"/>
      <dgm:spPr/>
    </dgm:pt>
    <dgm:pt modelId="{748E6735-4D5F-49D3-90CB-8D256547981E}" type="pres">
      <dgm:prSet presAssocID="{DD645B5E-0CF3-4003-BAE6-9E30A0253C21}" presName="spaceA" presStyleCnt="0"/>
      <dgm:spPr/>
    </dgm:pt>
    <dgm:pt modelId="{502B3F74-CC5D-4989-9F2C-5FCEAD5AF0E9}" type="pres">
      <dgm:prSet presAssocID="{54602D8C-3FB8-400D-A7B9-A6E91A051F5B}" presName="space" presStyleCnt="0"/>
      <dgm:spPr/>
    </dgm:pt>
    <dgm:pt modelId="{4D4CD67D-412D-430D-9FF0-D4B037F88C4B}" type="pres">
      <dgm:prSet presAssocID="{8CA2F663-1607-44DA-AE3A-3FAAAB4F0869}" presName="compositeB" presStyleCnt="0"/>
      <dgm:spPr/>
    </dgm:pt>
    <dgm:pt modelId="{CEE81847-4A26-4B5B-A807-96FEC642277C}" type="pres">
      <dgm:prSet presAssocID="{8CA2F663-1607-44DA-AE3A-3FAAAB4F0869}" presName="textB" presStyleLbl="revTx" presStyleIdx="3" presStyleCnt="6" custScaleX="221867">
        <dgm:presLayoutVars>
          <dgm:bulletEnabled val="1"/>
        </dgm:presLayoutVars>
      </dgm:prSet>
      <dgm:spPr/>
    </dgm:pt>
    <dgm:pt modelId="{A6593CB6-ED17-44CB-A126-8DEB775BC253}" type="pres">
      <dgm:prSet presAssocID="{8CA2F663-1607-44DA-AE3A-3FAAAB4F0869}" presName="circleB" presStyleLbl="node1" presStyleIdx="3" presStyleCnt="6"/>
      <dgm:spPr/>
    </dgm:pt>
    <dgm:pt modelId="{C8AEFE9C-994D-4C4C-9562-2E5F1FA66432}" type="pres">
      <dgm:prSet presAssocID="{8CA2F663-1607-44DA-AE3A-3FAAAB4F0869}" presName="spaceB" presStyleCnt="0"/>
      <dgm:spPr/>
    </dgm:pt>
    <dgm:pt modelId="{82F03C8B-BEBE-493F-9737-2C590F875FF0}" type="pres">
      <dgm:prSet presAssocID="{C2D9F75D-108B-47AA-B9A1-4CE0CE5BED3F}" presName="space" presStyleCnt="0"/>
      <dgm:spPr/>
    </dgm:pt>
    <dgm:pt modelId="{560DA6D0-DA63-4F8A-834C-C087EDDEE9B2}" type="pres">
      <dgm:prSet presAssocID="{26EEA2E9-8C38-4B1F-8003-4C860BA8EED6}" presName="compositeA" presStyleCnt="0"/>
      <dgm:spPr/>
    </dgm:pt>
    <dgm:pt modelId="{E164C47C-0064-44FA-BAC7-F226B3E45D6C}" type="pres">
      <dgm:prSet presAssocID="{26EEA2E9-8C38-4B1F-8003-4C860BA8EED6}" presName="textA" presStyleLbl="revTx" presStyleIdx="4" presStyleCnt="6" custScaleX="214978">
        <dgm:presLayoutVars>
          <dgm:bulletEnabled val="1"/>
        </dgm:presLayoutVars>
      </dgm:prSet>
      <dgm:spPr/>
    </dgm:pt>
    <dgm:pt modelId="{3F2C1B4B-A2B8-475A-B7D7-70E193A4FAFF}" type="pres">
      <dgm:prSet presAssocID="{26EEA2E9-8C38-4B1F-8003-4C860BA8EED6}" presName="circleA" presStyleLbl="node1" presStyleIdx="4" presStyleCnt="6"/>
      <dgm:spPr/>
    </dgm:pt>
    <dgm:pt modelId="{91E29BFB-A2EC-410A-BC54-9851322E7C4A}" type="pres">
      <dgm:prSet presAssocID="{26EEA2E9-8C38-4B1F-8003-4C860BA8EED6}" presName="spaceA" presStyleCnt="0"/>
      <dgm:spPr/>
    </dgm:pt>
    <dgm:pt modelId="{12D8C6AA-6DFB-4C19-B56D-C320484D2C02}" type="pres">
      <dgm:prSet presAssocID="{55EEC4CA-F7E9-489A-AFBC-3EB51A1C4059}" presName="space" presStyleCnt="0"/>
      <dgm:spPr/>
    </dgm:pt>
    <dgm:pt modelId="{A26FAC17-6C73-4A3D-B9B9-3A93AE635460}" type="pres">
      <dgm:prSet presAssocID="{E787D04E-1775-499D-98C1-CB5DF684154C}" presName="compositeB" presStyleCnt="0"/>
      <dgm:spPr/>
    </dgm:pt>
    <dgm:pt modelId="{5B01E455-F06C-4C50-830E-C84D29676B91}" type="pres">
      <dgm:prSet presAssocID="{E787D04E-1775-499D-98C1-CB5DF684154C}" presName="textB" presStyleLbl="revTx" presStyleIdx="5" presStyleCnt="6" custScaleX="168109">
        <dgm:presLayoutVars>
          <dgm:bulletEnabled val="1"/>
        </dgm:presLayoutVars>
      </dgm:prSet>
      <dgm:spPr/>
    </dgm:pt>
    <dgm:pt modelId="{AF6A8A94-69CB-4A38-A988-3900133CD848}" type="pres">
      <dgm:prSet presAssocID="{E787D04E-1775-499D-98C1-CB5DF684154C}" presName="circleB" presStyleLbl="node1" presStyleIdx="5" presStyleCnt="6"/>
      <dgm:spPr/>
    </dgm:pt>
    <dgm:pt modelId="{905AB65D-74DD-4DBF-835C-5C7BC913F19F}" type="pres">
      <dgm:prSet presAssocID="{E787D04E-1775-499D-98C1-CB5DF684154C}" presName="spaceB" presStyleCnt="0"/>
      <dgm:spPr/>
    </dgm:pt>
  </dgm:ptLst>
  <dgm:cxnLst>
    <dgm:cxn modelId="{81DD1919-3F24-4BEF-A060-3BCDF696ECE5}" srcId="{5C04D170-A960-410A-8E61-5832318B1EFA}" destId="{9DE1C071-E45D-4068-B37C-78251E7216C2}" srcOrd="0" destOrd="0" parTransId="{317AE8EB-A525-404A-A0B9-F69ED35344F3}" sibTransId="{412FFF3A-91A2-4487-907D-14D37295F953}"/>
    <dgm:cxn modelId="{884E0229-728A-4295-988D-137289737416}" type="presOf" srcId="{DD645B5E-0CF3-4003-BAE6-9E30A0253C21}" destId="{6712C844-E315-4639-B72F-BD39B5DDC9C9}" srcOrd="0" destOrd="0" presId="urn:microsoft.com/office/officeart/2005/8/layout/hProcess11"/>
    <dgm:cxn modelId="{CF412639-383F-4BBD-A847-7E8C737C5464}" type="presOf" srcId="{5C04D170-A960-410A-8E61-5832318B1EFA}" destId="{6D1A398E-C461-465B-9DC5-E21922F52970}" srcOrd="0" destOrd="0" presId="urn:microsoft.com/office/officeart/2005/8/layout/hProcess11"/>
    <dgm:cxn modelId="{638FEA5F-2D87-4488-957F-B6FD3EC0E74A}" type="presOf" srcId="{8CA2F663-1607-44DA-AE3A-3FAAAB4F0869}" destId="{CEE81847-4A26-4B5B-A807-96FEC642277C}" srcOrd="0" destOrd="0" presId="urn:microsoft.com/office/officeart/2005/8/layout/hProcess11"/>
    <dgm:cxn modelId="{CCC19B63-0B59-4BB5-BFCB-E582ED3CA3DE}" type="presOf" srcId="{26EEA2E9-8C38-4B1F-8003-4C860BA8EED6}" destId="{E164C47C-0064-44FA-BAC7-F226B3E45D6C}" srcOrd="0" destOrd="0" presId="urn:microsoft.com/office/officeart/2005/8/layout/hProcess11"/>
    <dgm:cxn modelId="{B1D8EE69-C6A5-4888-B65F-FE52F8D3BF61}" type="presOf" srcId="{55D9FDCA-9C76-49DC-BAC1-09030C175566}" destId="{0A0EE2CA-8315-4C14-A2FB-9490F7874303}" srcOrd="0" destOrd="0" presId="urn:microsoft.com/office/officeart/2005/8/layout/hProcess11"/>
    <dgm:cxn modelId="{902FE04F-855E-4C5F-BC83-E0405F9330C7}" type="presOf" srcId="{E787D04E-1775-499D-98C1-CB5DF684154C}" destId="{5B01E455-F06C-4C50-830E-C84D29676B91}" srcOrd="0" destOrd="0" presId="urn:microsoft.com/office/officeart/2005/8/layout/hProcess11"/>
    <dgm:cxn modelId="{0F6F957A-F2C1-43A9-A41C-C2CDBDC90F7C}" srcId="{5C04D170-A960-410A-8E61-5832318B1EFA}" destId="{55D9FDCA-9C76-49DC-BAC1-09030C175566}" srcOrd="1" destOrd="0" parTransId="{B6AD0464-DD73-4267-B0F3-3C2299166754}" sibTransId="{17BC5828-4489-4344-994C-9E5042D48F32}"/>
    <dgm:cxn modelId="{4882F5A9-C2B6-4D9A-B047-9EC3B0748B68}" srcId="{5C04D170-A960-410A-8E61-5832318B1EFA}" destId="{DD645B5E-0CF3-4003-BAE6-9E30A0253C21}" srcOrd="2" destOrd="0" parTransId="{9C7F7B0C-D264-49C3-942B-DA0D2FAA00C8}" sibTransId="{54602D8C-3FB8-400D-A7B9-A6E91A051F5B}"/>
    <dgm:cxn modelId="{FE0938B6-F324-49D9-8EAD-956C8A3E6096}" srcId="{5C04D170-A960-410A-8E61-5832318B1EFA}" destId="{26EEA2E9-8C38-4B1F-8003-4C860BA8EED6}" srcOrd="4" destOrd="0" parTransId="{2917F2B1-4A5A-41C7-941B-A78784847FB9}" sibTransId="{55EEC4CA-F7E9-489A-AFBC-3EB51A1C4059}"/>
    <dgm:cxn modelId="{8B3589CD-0C41-45CD-A2DB-929B4D5C86CF}" srcId="{5C04D170-A960-410A-8E61-5832318B1EFA}" destId="{E787D04E-1775-499D-98C1-CB5DF684154C}" srcOrd="5" destOrd="0" parTransId="{BFDBC3B6-11EB-44D6-A1EE-05E612A0FF54}" sibTransId="{971DF160-DCA7-4310-A14A-8058A8B86FEF}"/>
    <dgm:cxn modelId="{6CD3BCE5-AFB5-437C-BFD2-627C370A5585}" type="presOf" srcId="{9DE1C071-E45D-4068-B37C-78251E7216C2}" destId="{31147F4C-54E9-4F9A-A775-D327FEFF0A5C}" srcOrd="0" destOrd="0" presId="urn:microsoft.com/office/officeart/2005/8/layout/hProcess11"/>
    <dgm:cxn modelId="{57258BF7-9989-4D06-8932-8A729817333B}" srcId="{5C04D170-A960-410A-8E61-5832318B1EFA}" destId="{8CA2F663-1607-44DA-AE3A-3FAAAB4F0869}" srcOrd="3" destOrd="0" parTransId="{4C3A6EFD-E6C1-40DB-9E71-72D59B56C427}" sibTransId="{C2D9F75D-108B-47AA-B9A1-4CE0CE5BED3F}"/>
    <dgm:cxn modelId="{DB0D1738-B246-450F-919B-753442D26237}" type="presParOf" srcId="{6D1A398E-C461-465B-9DC5-E21922F52970}" destId="{B9DF7577-DB65-4F72-84A0-344D1FEE1131}" srcOrd="0" destOrd="0" presId="urn:microsoft.com/office/officeart/2005/8/layout/hProcess11"/>
    <dgm:cxn modelId="{8B4CCD81-3B05-43E1-A2F4-284DA57165BD}" type="presParOf" srcId="{6D1A398E-C461-465B-9DC5-E21922F52970}" destId="{3903B751-E974-489F-BD49-33F8923AEE3E}" srcOrd="1" destOrd="0" presId="urn:microsoft.com/office/officeart/2005/8/layout/hProcess11"/>
    <dgm:cxn modelId="{8320838C-BEBE-466F-8C6E-CEABB38F32B8}" type="presParOf" srcId="{3903B751-E974-489F-BD49-33F8923AEE3E}" destId="{A9429AA7-7022-458C-915D-FC3310BCF536}" srcOrd="0" destOrd="0" presId="urn:microsoft.com/office/officeart/2005/8/layout/hProcess11"/>
    <dgm:cxn modelId="{D0A16138-A002-4268-9A88-A7AB25D4C639}" type="presParOf" srcId="{A9429AA7-7022-458C-915D-FC3310BCF536}" destId="{31147F4C-54E9-4F9A-A775-D327FEFF0A5C}" srcOrd="0" destOrd="0" presId="urn:microsoft.com/office/officeart/2005/8/layout/hProcess11"/>
    <dgm:cxn modelId="{24F1A96A-2718-4284-80D0-0CEE84F9938B}" type="presParOf" srcId="{A9429AA7-7022-458C-915D-FC3310BCF536}" destId="{DDE6F720-F9B0-42A7-A629-17F510BC3576}" srcOrd="1" destOrd="0" presId="urn:microsoft.com/office/officeart/2005/8/layout/hProcess11"/>
    <dgm:cxn modelId="{662CB5E2-B982-42A2-A7BB-0406E81EF6DA}" type="presParOf" srcId="{A9429AA7-7022-458C-915D-FC3310BCF536}" destId="{55FE855E-88A7-456B-886B-6BE4A4D7E5B3}" srcOrd="2" destOrd="0" presId="urn:microsoft.com/office/officeart/2005/8/layout/hProcess11"/>
    <dgm:cxn modelId="{7A524879-5C88-440F-AD9D-5740054F2F37}" type="presParOf" srcId="{3903B751-E974-489F-BD49-33F8923AEE3E}" destId="{77040E75-ED48-4D1C-AECA-0C6C4C6E3667}" srcOrd="1" destOrd="0" presId="urn:microsoft.com/office/officeart/2005/8/layout/hProcess11"/>
    <dgm:cxn modelId="{A4011627-8A22-4627-A052-EF6576E31778}" type="presParOf" srcId="{3903B751-E974-489F-BD49-33F8923AEE3E}" destId="{A74AE792-4635-4ECF-800E-1443BD6F1452}" srcOrd="2" destOrd="0" presId="urn:microsoft.com/office/officeart/2005/8/layout/hProcess11"/>
    <dgm:cxn modelId="{EF06EE65-90CE-4C36-896E-D86DE73BA02C}" type="presParOf" srcId="{A74AE792-4635-4ECF-800E-1443BD6F1452}" destId="{0A0EE2CA-8315-4C14-A2FB-9490F7874303}" srcOrd="0" destOrd="0" presId="urn:microsoft.com/office/officeart/2005/8/layout/hProcess11"/>
    <dgm:cxn modelId="{54E670FA-40C8-4EB9-93E3-F1143DB05FC8}" type="presParOf" srcId="{A74AE792-4635-4ECF-800E-1443BD6F1452}" destId="{208B285B-DCE1-40FA-94DE-1D10BCFCF0E5}" srcOrd="1" destOrd="0" presId="urn:microsoft.com/office/officeart/2005/8/layout/hProcess11"/>
    <dgm:cxn modelId="{C6EA8305-178B-4B42-9B45-C323DCD370C8}" type="presParOf" srcId="{A74AE792-4635-4ECF-800E-1443BD6F1452}" destId="{9B0AFA68-E206-46FB-94B8-DBC39AE93F44}" srcOrd="2" destOrd="0" presId="urn:microsoft.com/office/officeart/2005/8/layout/hProcess11"/>
    <dgm:cxn modelId="{98977252-7A91-4D61-9D84-A831AEC03F35}" type="presParOf" srcId="{3903B751-E974-489F-BD49-33F8923AEE3E}" destId="{4E7235DD-6F5D-43BF-90CE-E0785BD623D5}" srcOrd="3" destOrd="0" presId="urn:microsoft.com/office/officeart/2005/8/layout/hProcess11"/>
    <dgm:cxn modelId="{AA8342DC-5C7C-406E-B8CC-EFBDE8671FC3}" type="presParOf" srcId="{3903B751-E974-489F-BD49-33F8923AEE3E}" destId="{FE93EF19-C6FF-4D3D-B731-402355332324}" srcOrd="4" destOrd="0" presId="urn:microsoft.com/office/officeart/2005/8/layout/hProcess11"/>
    <dgm:cxn modelId="{E1864FE4-E0D9-41DF-8EB1-696AF78CD4AB}" type="presParOf" srcId="{FE93EF19-C6FF-4D3D-B731-402355332324}" destId="{6712C844-E315-4639-B72F-BD39B5DDC9C9}" srcOrd="0" destOrd="0" presId="urn:microsoft.com/office/officeart/2005/8/layout/hProcess11"/>
    <dgm:cxn modelId="{8110D6F2-874A-4848-BBBE-04E614170360}" type="presParOf" srcId="{FE93EF19-C6FF-4D3D-B731-402355332324}" destId="{E6E98A49-B588-459B-9F3C-98360859EF84}" srcOrd="1" destOrd="0" presId="urn:microsoft.com/office/officeart/2005/8/layout/hProcess11"/>
    <dgm:cxn modelId="{4C8AB082-E5CD-4800-910B-4E808507A0F8}" type="presParOf" srcId="{FE93EF19-C6FF-4D3D-B731-402355332324}" destId="{748E6735-4D5F-49D3-90CB-8D256547981E}" srcOrd="2" destOrd="0" presId="urn:microsoft.com/office/officeart/2005/8/layout/hProcess11"/>
    <dgm:cxn modelId="{891E4AAA-EB05-4998-93C2-DBF57A96C195}" type="presParOf" srcId="{3903B751-E974-489F-BD49-33F8923AEE3E}" destId="{502B3F74-CC5D-4989-9F2C-5FCEAD5AF0E9}" srcOrd="5" destOrd="0" presId="urn:microsoft.com/office/officeart/2005/8/layout/hProcess11"/>
    <dgm:cxn modelId="{A857CFE6-3320-46C1-BF52-489A19AB4854}" type="presParOf" srcId="{3903B751-E974-489F-BD49-33F8923AEE3E}" destId="{4D4CD67D-412D-430D-9FF0-D4B037F88C4B}" srcOrd="6" destOrd="0" presId="urn:microsoft.com/office/officeart/2005/8/layout/hProcess11"/>
    <dgm:cxn modelId="{D35E142B-CB8A-48E9-AD1B-B7BB74408ECD}" type="presParOf" srcId="{4D4CD67D-412D-430D-9FF0-D4B037F88C4B}" destId="{CEE81847-4A26-4B5B-A807-96FEC642277C}" srcOrd="0" destOrd="0" presId="urn:microsoft.com/office/officeart/2005/8/layout/hProcess11"/>
    <dgm:cxn modelId="{F1C087D0-C4EB-45F5-BFD2-DD5A8ACF3C30}" type="presParOf" srcId="{4D4CD67D-412D-430D-9FF0-D4B037F88C4B}" destId="{A6593CB6-ED17-44CB-A126-8DEB775BC253}" srcOrd="1" destOrd="0" presId="urn:microsoft.com/office/officeart/2005/8/layout/hProcess11"/>
    <dgm:cxn modelId="{01E21AC2-7EE1-4109-9A6C-1C5D204243CC}" type="presParOf" srcId="{4D4CD67D-412D-430D-9FF0-D4B037F88C4B}" destId="{C8AEFE9C-994D-4C4C-9562-2E5F1FA66432}" srcOrd="2" destOrd="0" presId="urn:microsoft.com/office/officeart/2005/8/layout/hProcess11"/>
    <dgm:cxn modelId="{85A697D9-7201-46CF-BE95-B473E84576FA}" type="presParOf" srcId="{3903B751-E974-489F-BD49-33F8923AEE3E}" destId="{82F03C8B-BEBE-493F-9737-2C590F875FF0}" srcOrd="7" destOrd="0" presId="urn:microsoft.com/office/officeart/2005/8/layout/hProcess11"/>
    <dgm:cxn modelId="{FA3CBF95-8F9F-4F36-B0FC-DA8B8B705C0E}" type="presParOf" srcId="{3903B751-E974-489F-BD49-33F8923AEE3E}" destId="{560DA6D0-DA63-4F8A-834C-C087EDDEE9B2}" srcOrd="8" destOrd="0" presId="urn:microsoft.com/office/officeart/2005/8/layout/hProcess11"/>
    <dgm:cxn modelId="{58C5A1B0-64FD-4BB7-86FB-75FA050CD32B}" type="presParOf" srcId="{560DA6D0-DA63-4F8A-834C-C087EDDEE9B2}" destId="{E164C47C-0064-44FA-BAC7-F226B3E45D6C}" srcOrd="0" destOrd="0" presId="urn:microsoft.com/office/officeart/2005/8/layout/hProcess11"/>
    <dgm:cxn modelId="{C488D8D2-EC21-47BC-B648-C7B6F4F9DD73}" type="presParOf" srcId="{560DA6D0-DA63-4F8A-834C-C087EDDEE9B2}" destId="{3F2C1B4B-A2B8-475A-B7D7-70E193A4FAFF}" srcOrd="1" destOrd="0" presId="urn:microsoft.com/office/officeart/2005/8/layout/hProcess11"/>
    <dgm:cxn modelId="{EA950B82-BE2A-4998-9222-20AE55B2F625}" type="presParOf" srcId="{560DA6D0-DA63-4F8A-834C-C087EDDEE9B2}" destId="{91E29BFB-A2EC-410A-BC54-9851322E7C4A}" srcOrd="2" destOrd="0" presId="urn:microsoft.com/office/officeart/2005/8/layout/hProcess11"/>
    <dgm:cxn modelId="{298F9D2C-764A-40B4-80D2-45FF73261FB4}" type="presParOf" srcId="{3903B751-E974-489F-BD49-33F8923AEE3E}" destId="{12D8C6AA-6DFB-4C19-B56D-C320484D2C02}" srcOrd="9" destOrd="0" presId="urn:microsoft.com/office/officeart/2005/8/layout/hProcess11"/>
    <dgm:cxn modelId="{14FF7A09-B09F-4316-8096-48F3B6CE0F62}" type="presParOf" srcId="{3903B751-E974-489F-BD49-33F8923AEE3E}" destId="{A26FAC17-6C73-4A3D-B9B9-3A93AE635460}" srcOrd="10" destOrd="0" presId="urn:microsoft.com/office/officeart/2005/8/layout/hProcess11"/>
    <dgm:cxn modelId="{68606979-DBF8-44AE-BF1C-93153A127C2A}" type="presParOf" srcId="{A26FAC17-6C73-4A3D-B9B9-3A93AE635460}" destId="{5B01E455-F06C-4C50-830E-C84D29676B91}" srcOrd="0" destOrd="0" presId="urn:microsoft.com/office/officeart/2005/8/layout/hProcess11"/>
    <dgm:cxn modelId="{44F7E3D3-65F6-46C7-BB50-C83774FE2562}" type="presParOf" srcId="{A26FAC17-6C73-4A3D-B9B9-3A93AE635460}" destId="{AF6A8A94-69CB-4A38-A988-3900133CD848}" srcOrd="1" destOrd="0" presId="urn:microsoft.com/office/officeart/2005/8/layout/hProcess11"/>
    <dgm:cxn modelId="{1D1047DD-1A22-44C9-8A73-58667EF4D974}" type="presParOf" srcId="{A26FAC17-6C73-4A3D-B9B9-3A93AE635460}" destId="{905AB65D-74DD-4DBF-835C-5C7BC913F19F}"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C04D170-A960-410A-8E61-5832318B1EFA}" type="doc">
      <dgm:prSet loTypeId="urn:microsoft.com/office/officeart/2005/8/layout/hProcess11" loCatId="process" qsTypeId="urn:microsoft.com/office/officeart/2005/8/quickstyle/simple1" qsCatId="simple" csTypeId="urn:microsoft.com/office/officeart/2005/8/colors/colorful1" csCatId="colorful" phldr="1"/>
      <dgm:spPr/>
    </dgm:pt>
    <dgm:pt modelId="{9DE1C071-E45D-4068-B37C-78251E7216C2}">
      <dgm:prSet phldrT="[Text]" custT="1"/>
      <dgm:spPr/>
      <dgm:t>
        <a:bodyPr/>
        <a:lstStyle/>
        <a:p>
          <a:r>
            <a:rPr lang="en-IN" sz="1600" b="1" dirty="0"/>
            <a:t>Angular 5</a:t>
          </a:r>
        </a:p>
      </dgm:t>
    </dgm:pt>
    <dgm:pt modelId="{317AE8EB-A525-404A-A0B9-F69ED35344F3}" type="parTrans" cxnId="{81DD1919-3F24-4BEF-A060-3BCDF696ECE5}">
      <dgm:prSet/>
      <dgm:spPr/>
      <dgm:t>
        <a:bodyPr/>
        <a:lstStyle/>
        <a:p>
          <a:endParaRPr lang="en-IN"/>
        </a:p>
      </dgm:t>
    </dgm:pt>
    <dgm:pt modelId="{412FFF3A-91A2-4487-907D-14D37295F953}" type="sibTrans" cxnId="{81DD1919-3F24-4BEF-A060-3BCDF696ECE5}">
      <dgm:prSet/>
      <dgm:spPr/>
      <dgm:t>
        <a:bodyPr/>
        <a:lstStyle/>
        <a:p>
          <a:endParaRPr lang="en-IN"/>
        </a:p>
      </dgm:t>
    </dgm:pt>
    <dgm:pt modelId="{55D9FDCA-9C76-49DC-BAC1-09030C175566}">
      <dgm:prSet phldrT="[Text]" custT="1"/>
      <dgm:spPr/>
      <dgm:t>
        <a:bodyPr/>
        <a:lstStyle/>
        <a:p>
          <a:r>
            <a:rPr lang="en-IN" sz="1600" b="1" dirty="0"/>
            <a:t>Angular 6</a:t>
          </a:r>
        </a:p>
      </dgm:t>
    </dgm:pt>
    <dgm:pt modelId="{B6AD0464-DD73-4267-B0F3-3C2299166754}" type="parTrans" cxnId="{0F6F957A-F2C1-43A9-A41C-C2CDBDC90F7C}">
      <dgm:prSet/>
      <dgm:spPr/>
      <dgm:t>
        <a:bodyPr/>
        <a:lstStyle/>
        <a:p>
          <a:endParaRPr lang="en-IN"/>
        </a:p>
      </dgm:t>
    </dgm:pt>
    <dgm:pt modelId="{17BC5828-4489-4344-994C-9E5042D48F32}" type="sibTrans" cxnId="{0F6F957A-F2C1-43A9-A41C-C2CDBDC90F7C}">
      <dgm:prSet/>
      <dgm:spPr/>
      <dgm:t>
        <a:bodyPr/>
        <a:lstStyle/>
        <a:p>
          <a:endParaRPr lang="en-IN"/>
        </a:p>
      </dgm:t>
    </dgm:pt>
    <dgm:pt modelId="{DD645B5E-0CF3-4003-BAE6-9E30A0253C21}">
      <dgm:prSet phldrT="[Text]" custT="1"/>
      <dgm:spPr/>
      <dgm:t>
        <a:bodyPr/>
        <a:lstStyle/>
        <a:p>
          <a:endParaRPr lang="en-IN" sz="1600" b="1" dirty="0"/>
        </a:p>
      </dgm:t>
    </dgm:pt>
    <dgm:pt modelId="{9C7F7B0C-D264-49C3-942B-DA0D2FAA00C8}" type="parTrans" cxnId="{4882F5A9-C2B6-4D9A-B047-9EC3B0748B68}">
      <dgm:prSet/>
      <dgm:spPr/>
      <dgm:t>
        <a:bodyPr/>
        <a:lstStyle/>
        <a:p>
          <a:endParaRPr lang="en-IN"/>
        </a:p>
      </dgm:t>
    </dgm:pt>
    <dgm:pt modelId="{54602D8C-3FB8-400D-A7B9-A6E91A051F5B}" type="sibTrans" cxnId="{4882F5A9-C2B6-4D9A-B047-9EC3B0748B68}">
      <dgm:prSet/>
      <dgm:spPr/>
      <dgm:t>
        <a:bodyPr/>
        <a:lstStyle/>
        <a:p>
          <a:endParaRPr lang="en-IN"/>
        </a:p>
      </dgm:t>
    </dgm:pt>
    <dgm:pt modelId="{6D1A398E-C461-465B-9DC5-E21922F52970}" type="pres">
      <dgm:prSet presAssocID="{5C04D170-A960-410A-8E61-5832318B1EFA}" presName="Name0" presStyleCnt="0">
        <dgm:presLayoutVars>
          <dgm:dir/>
          <dgm:resizeHandles val="exact"/>
        </dgm:presLayoutVars>
      </dgm:prSet>
      <dgm:spPr/>
    </dgm:pt>
    <dgm:pt modelId="{B9DF7577-DB65-4F72-84A0-344D1FEE1131}" type="pres">
      <dgm:prSet presAssocID="{5C04D170-A960-410A-8E61-5832318B1EFA}" presName="arrow" presStyleLbl="bgShp" presStyleIdx="0" presStyleCnt="1"/>
      <dgm:spPr/>
    </dgm:pt>
    <dgm:pt modelId="{3903B751-E974-489F-BD49-33F8923AEE3E}" type="pres">
      <dgm:prSet presAssocID="{5C04D170-A960-410A-8E61-5832318B1EFA}" presName="points" presStyleCnt="0"/>
      <dgm:spPr/>
    </dgm:pt>
    <dgm:pt modelId="{A9429AA7-7022-458C-915D-FC3310BCF536}" type="pres">
      <dgm:prSet presAssocID="{9DE1C071-E45D-4068-B37C-78251E7216C2}" presName="compositeA" presStyleCnt="0"/>
      <dgm:spPr/>
    </dgm:pt>
    <dgm:pt modelId="{31147F4C-54E9-4F9A-A775-D327FEFF0A5C}" type="pres">
      <dgm:prSet presAssocID="{9DE1C071-E45D-4068-B37C-78251E7216C2}" presName="textA" presStyleLbl="revTx" presStyleIdx="0" presStyleCnt="3" custScaleX="202605">
        <dgm:presLayoutVars>
          <dgm:bulletEnabled val="1"/>
        </dgm:presLayoutVars>
      </dgm:prSet>
      <dgm:spPr/>
    </dgm:pt>
    <dgm:pt modelId="{DDE6F720-F9B0-42A7-A629-17F510BC3576}" type="pres">
      <dgm:prSet presAssocID="{9DE1C071-E45D-4068-B37C-78251E7216C2}" presName="circleA" presStyleLbl="node1" presStyleIdx="0" presStyleCnt="3"/>
      <dgm:spPr/>
    </dgm:pt>
    <dgm:pt modelId="{55FE855E-88A7-456B-886B-6BE4A4D7E5B3}" type="pres">
      <dgm:prSet presAssocID="{9DE1C071-E45D-4068-B37C-78251E7216C2}" presName="spaceA" presStyleCnt="0"/>
      <dgm:spPr/>
    </dgm:pt>
    <dgm:pt modelId="{77040E75-ED48-4D1C-AECA-0C6C4C6E3667}" type="pres">
      <dgm:prSet presAssocID="{412FFF3A-91A2-4487-907D-14D37295F953}" presName="space" presStyleCnt="0"/>
      <dgm:spPr/>
    </dgm:pt>
    <dgm:pt modelId="{A74AE792-4635-4ECF-800E-1443BD6F1452}" type="pres">
      <dgm:prSet presAssocID="{55D9FDCA-9C76-49DC-BAC1-09030C175566}" presName="compositeB" presStyleCnt="0"/>
      <dgm:spPr/>
    </dgm:pt>
    <dgm:pt modelId="{0A0EE2CA-8315-4C14-A2FB-9490F7874303}" type="pres">
      <dgm:prSet presAssocID="{55D9FDCA-9C76-49DC-BAC1-09030C175566}" presName="textB" presStyleLbl="revTx" presStyleIdx="1" presStyleCnt="3" custScaleX="233194">
        <dgm:presLayoutVars>
          <dgm:bulletEnabled val="1"/>
        </dgm:presLayoutVars>
      </dgm:prSet>
      <dgm:spPr/>
    </dgm:pt>
    <dgm:pt modelId="{208B285B-DCE1-40FA-94DE-1D10BCFCF0E5}" type="pres">
      <dgm:prSet presAssocID="{55D9FDCA-9C76-49DC-BAC1-09030C175566}" presName="circleB" presStyleLbl="node1" presStyleIdx="1" presStyleCnt="3"/>
      <dgm:spPr/>
    </dgm:pt>
    <dgm:pt modelId="{9B0AFA68-E206-46FB-94B8-DBC39AE93F44}" type="pres">
      <dgm:prSet presAssocID="{55D9FDCA-9C76-49DC-BAC1-09030C175566}" presName="spaceB" presStyleCnt="0"/>
      <dgm:spPr/>
    </dgm:pt>
    <dgm:pt modelId="{4E7235DD-6F5D-43BF-90CE-E0785BD623D5}" type="pres">
      <dgm:prSet presAssocID="{17BC5828-4489-4344-994C-9E5042D48F32}" presName="space" presStyleCnt="0"/>
      <dgm:spPr/>
    </dgm:pt>
    <dgm:pt modelId="{FE93EF19-C6FF-4D3D-B731-402355332324}" type="pres">
      <dgm:prSet presAssocID="{DD645B5E-0CF3-4003-BAE6-9E30A0253C21}" presName="compositeA" presStyleCnt="0"/>
      <dgm:spPr/>
    </dgm:pt>
    <dgm:pt modelId="{6712C844-E315-4639-B72F-BD39B5DDC9C9}" type="pres">
      <dgm:prSet presAssocID="{DD645B5E-0CF3-4003-BAE6-9E30A0253C21}" presName="textA" presStyleLbl="revTx" presStyleIdx="2" presStyleCnt="3" custScaleX="216090">
        <dgm:presLayoutVars>
          <dgm:bulletEnabled val="1"/>
        </dgm:presLayoutVars>
      </dgm:prSet>
      <dgm:spPr/>
    </dgm:pt>
    <dgm:pt modelId="{E6E98A49-B588-459B-9F3C-98360859EF84}" type="pres">
      <dgm:prSet presAssocID="{DD645B5E-0CF3-4003-BAE6-9E30A0253C21}" presName="circleA" presStyleLbl="node1" presStyleIdx="2" presStyleCnt="3"/>
      <dgm:spPr/>
    </dgm:pt>
    <dgm:pt modelId="{748E6735-4D5F-49D3-90CB-8D256547981E}" type="pres">
      <dgm:prSet presAssocID="{DD645B5E-0CF3-4003-BAE6-9E30A0253C21}" presName="spaceA" presStyleCnt="0"/>
      <dgm:spPr/>
    </dgm:pt>
  </dgm:ptLst>
  <dgm:cxnLst>
    <dgm:cxn modelId="{81DD1919-3F24-4BEF-A060-3BCDF696ECE5}" srcId="{5C04D170-A960-410A-8E61-5832318B1EFA}" destId="{9DE1C071-E45D-4068-B37C-78251E7216C2}" srcOrd="0" destOrd="0" parTransId="{317AE8EB-A525-404A-A0B9-F69ED35344F3}" sibTransId="{412FFF3A-91A2-4487-907D-14D37295F953}"/>
    <dgm:cxn modelId="{0F6F957A-F2C1-43A9-A41C-C2CDBDC90F7C}" srcId="{5C04D170-A960-410A-8E61-5832318B1EFA}" destId="{55D9FDCA-9C76-49DC-BAC1-09030C175566}" srcOrd="1" destOrd="0" parTransId="{B6AD0464-DD73-4267-B0F3-3C2299166754}" sibTransId="{17BC5828-4489-4344-994C-9E5042D48F32}"/>
    <dgm:cxn modelId="{36E9449D-2C26-412F-B649-517F835D8A37}" type="presOf" srcId="{5C04D170-A960-410A-8E61-5832318B1EFA}" destId="{6D1A398E-C461-465B-9DC5-E21922F52970}" srcOrd="0" destOrd="0" presId="urn:microsoft.com/office/officeart/2005/8/layout/hProcess11"/>
    <dgm:cxn modelId="{4882F5A9-C2B6-4D9A-B047-9EC3B0748B68}" srcId="{5C04D170-A960-410A-8E61-5832318B1EFA}" destId="{DD645B5E-0CF3-4003-BAE6-9E30A0253C21}" srcOrd="2" destOrd="0" parTransId="{9C7F7B0C-D264-49C3-942B-DA0D2FAA00C8}" sibTransId="{54602D8C-3FB8-400D-A7B9-A6E91A051F5B}"/>
    <dgm:cxn modelId="{E89E19AF-0121-4AFE-8880-4AF7E07410AA}" type="presOf" srcId="{55D9FDCA-9C76-49DC-BAC1-09030C175566}" destId="{0A0EE2CA-8315-4C14-A2FB-9490F7874303}" srcOrd="0" destOrd="0" presId="urn:microsoft.com/office/officeart/2005/8/layout/hProcess11"/>
    <dgm:cxn modelId="{54139FC6-9BB7-4AA4-B8CC-E4A6D20256D5}" type="presOf" srcId="{DD645B5E-0CF3-4003-BAE6-9E30A0253C21}" destId="{6712C844-E315-4639-B72F-BD39B5DDC9C9}" srcOrd="0" destOrd="0" presId="urn:microsoft.com/office/officeart/2005/8/layout/hProcess11"/>
    <dgm:cxn modelId="{D03C5ED5-F382-45FC-A6BB-95A6BB03FDCB}" type="presOf" srcId="{9DE1C071-E45D-4068-B37C-78251E7216C2}" destId="{31147F4C-54E9-4F9A-A775-D327FEFF0A5C}" srcOrd="0" destOrd="0" presId="urn:microsoft.com/office/officeart/2005/8/layout/hProcess11"/>
    <dgm:cxn modelId="{29357A9D-2741-4EB6-ADF2-88470873EFBE}" type="presParOf" srcId="{6D1A398E-C461-465B-9DC5-E21922F52970}" destId="{B9DF7577-DB65-4F72-84A0-344D1FEE1131}" srcOrd="0" destOrd="0" presId="urn:microsoft.com/office/officeart/2005/8/layout/hProcess11"/>
    <dgm:cxn modelId="{241497F7-2FCD-416B-9026-A8ECCF8D64BC}" type="presParOf" srcId="{6D1A398E-C461-465B-9DC5-E21922F52970}" destId="{3903B751-E974-489F-BD49-33F8923AEE3E}" srcOrd="1" destOrd="0" presId="urn:microsoft.com/office/officeart/2005/8/layout/hProcess11"/>
    <dgm:cxn modelId="{1CD5ADAC-7ABC-4E87-9981-B523D063E904}" type="presParOf" srcId="{3903B751-E974-489F-BD49-33F8923AEE3E}" destId="{A9429AA7-7022-458C-915D-FC3310BCF536}" srcOrd="0" destOrd="0" presId="urn:microsoft.com/office/officeart/2005/8/layout/hProcess11"/>
    <dgm:cxn modelId="{B73FB551-78B8-4B68-B68B-87010EF41370}" type="presParOf" srcId="{A9429AA7-7022-458C-915D-FC3310BCF536}" destId="{31147F4C-54E9-4F9A-A775-D327FEFF0A5C}" srcOrd="0" destOrd="0" presId="urn:microsoft.com/office/officeart/2005/8/layout/hProcess11"/>
    <dgm:cxn modelId="{174E62BF-AF4C-4A14-9D83-0036BC0D4CA6}" type="presParOf" srcId="{A9429AA7-7022-458C-915D-FC3310BCF536}" destId="{DDE6F720-F9B0-42A7-A629-17F510BC3576}" srcOrd="1" destOrd="0" presId="urn:microsoft.com/office/officeart/2005/8/layout/hProcess11"/>
    <dgm:cxn modelId="{009C60E7-3071-49BB-B7CC-C24D55743770}" type="presParOf" srcId="{A9429AA7-7022-458C-915D-FC3310BCF536}" destId="{55FE855E-88A7-456B-886B-6BE4A4D7E5B3}" srcOrd="2" destOrd="0" presId="urn:microsoft.com/office/officeart/2005/8/layout/hProcess11"/>
    <dgm:cxn modelId="{DFDAD5E8-86D2-40B7-A408-8E15C90F98CF}" type="presParOf" srcId="{3903B751-E974-489F-BD49-33F8923AEE3E}" destId="{77040E75-ED48-4D1C-AECA-0C6C4C6E3667}" srcOrd="1" destOrd="0" presId="urn:microsoft.com/office/officeart/2005/8/layout/hProcess11"/>
    <dgm:cxn modelId="{AB6BBC6B-FAF4-4A32-9BBE-462A9C79330B}" type="presParOf" srcId="{3903B751-E974-489F-BD49-33F8923AEE3E}" destId="{A74AE792-4635-4ECF-800E-1443BD6F1452}" srcOrd="2" destOrd="0" presId="urn:microsoft.com/office/officeart/2005/8/layout/hProcess11"/>
    <dgm:cxn modelId="{41701B6C-B24F-41A5-80E5-AE4EEA921B92}" type="presParOf" srcId="{A74AE792-4635-4ECF-800E-1443BD6F1452}" destId="{0A0EE2CA-8315-4C14-A2FB-9490F7874303}" srcOrd="0" destOrd="0" presId="urn:microsoft.com/office/officeart/2005/8/layout/hProcess11"/>
    <dgm:cxn modelId="{F357625D-1E4D-4BD0-88D6-1350F243DFC3}" type="presParOf" srcId="{A74AE792-4635-4ECF-800E-1443BD6F1452}" destId="{208B285B-DCE1-40FA-94DE-1D10BCFCF0E5}" srcOrd="1" destOrd="0" presId="urn:microsoft.com/office/officeart/2005/8/layout/hProcess11"/>
    <dgm:cxn modelId="{6706700A-6046-451E-8A0D-98C9B4B8C2B3}" type="presParOf" srcId="{A74AE792-4635-4ECF-800E-1443BD6F1452}" destId="{9B0AFA68-E206-46FB-94B8-DBC39AE93F44}" srcOrd="2" destOrd="0" presId="urn:microsoft.com/office/officeart/2005/8/layout/hProcess11"/>
    <dgm:cxn modelId="{51DD4492-B039-4EBC-8961-BA95F27E5083}" type="presParOf" srcId="{3903B751-E974-489F-BD49-33F8923AEE3E}" destId="{4E7235DD-6F5D-43BF-90CE-E0785BD623D5}" srcOrd="3" destOrd="0" presId="urn:microsoft.com/office/officeart/2005/8/layout/hProcess11"/>
    <dgm:cxn modelId="{9C873B8F-F936-4166-B182-6915A4F49F2D}" type="presParOf" srcId="{3903B751-E974-489F-BD49-33F8923AEE3E}" destId="{FE93EF19-C6FF-4D3D-B731-402355332324}" srcOrd="4" destOrd="0" presId="urn:microsoft.com/office/officeart/2005/8/layout/hProcess11"/>
    <dgm:cxn modelId="{2042B4AB-1AE9-44C3-9A8B-2B13036B7EF2}" type="presParOf" srcId="{FE93EF19-C6FF-4D3D-B731-402355332324}" destId="{6712C844-E315-4639-B72F-BD39B5DDC9C9}" srcOrd="0" destOrd="0" presId="urn:microsoft.com/office/officeart/2005/8/layout/hProcess11"/>
    <dgm:cxn modelId="{6463DB5F-2E6A-4C4E-B670-5BE36A3AEE83}" type="presParOf" srcId="{FE93EF19-C6FF-4D3D-B731-402355332324}" destId="{E6E98A49-B588-459B-9F3C-98360859EF84}" srcOrd="1" destOrd="0" presId="urn:microsoft.com/office/officeart/2005/8/layout/hProcess11"/>
    <dgm:cxn modelId="{D12168DA-88F6-41FD-BFD6-EF4E4353C19C}" type="presParOf" srcId="{FE93EF19-C6FF-4D3D-B731-402355332324}" destId="{748E6735-4D5F-49D3-90CB-8D256547981E}"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83F364-FBC4-4E69-909B-71242386A7BF}" type="doc">
      <dgm:prSet loTypeId="urn:microsoft.com/office/officeart/2005/8/layout/cycle6" loCatId="cycle" qsTypeId="urn:microsoft.com/office/officeart/2005/8/quickstyle/simple1" qsCatId="simple" csTypeId="urn:microsoft.com/office/officeart/2005/8/colors/colorful1" csCatId="colorful" phldr="1"/>
      <dgm:spPr/>
      <dgm:t>
        <a:bodyPr/>
        <a:lstStyle/>
        <a:p>
          <a:endParaRPr lang="en-IN"/>
        </a:p>
      </dgm:t>
    </dgm:pt>
    <dgm:pt modelId="{AD6319C4-B854-43A2-9DDB-56DF56B22D1A}">
      <dgm:prSet phldrT="[Text]" custT="1"/>
      <dgm:spPr/>
      <dgm:t>
        <a:bodyPr/>
        <a:lstStyle/>
        <a:p>
          <a:r>
            <a:rPr lang="en-IN" sz="1800" dirty="0"/>
            <a:t>Services</a:t>
          </a:r>
        </a:p>
      </dgm:t>
    </dgm:pt>
    <dgm:pt modelId="{B1975E7D-0E6C-443F-989F-B28128828DA8}" type="parTrans" cxnId="{2F8DEBDD-1487-4F8E-A868-1F978CA4F86B}">
      <dgm:prSet/>
      <dgm:spPr/>
      <dgm:t>
        <a:bodyPr/>
        <a:lstStyle/>
        <a:p>
          <a:endParaRPr lang="en-IN"/>
        </a:p>
      </dgm:t>
    </dgm:pt>
    <dgm:pt modelId="{6C7370A4-03F8-4860-ACBE-F2E93A413F54}" type="sibTrans" cxnId="{2F8DEBDD-1487-4F8E-A868-1F978CA4F86B}">
      <dgm:prSet/>
      <dgm:spPr/>
      <dgm:t>
        <a:bodyPr/>
        <a:lstStyle/>
        <a:p>
          <a:endParaRPr lang="en-IN"/>
        </a:p>
      </dgm:t>
    </dgm:pt>
    <dgm:pt modelId="{8581B3D0-418A-4EEB-97D0-077E86D2109A}">
      <dgm:prSet phldrT="[Text]" custT="1"/>
      <dgm:spPr/>
      <dgm:t>
        <a:bodyPr/>
        <a:lstStyle/>
        <a:p>
          <a:r>
            <a:rPr lang="en-IN" sz="1800" dirty="0"/>
            <a:t>Directives</a:t>
          </a:r>
        </a:p>
      </dgm:t>
    </dgm:pt>
    <dgm:pt modelId="{C318B3B1-F6DA-4294-AC69-30A6D224A3F7}" type="parTrans" cxnId="{81244208-D441-47AA-9B01-719C484447E4}">
      <dgm:prSet/>
      <dgm:spPr/>
      <dgm:t>
        <a:bodyPr/>
        <a:lstStyle/>
        <a:p>
          <a:endParaRPr lang="en-IN"/>
        </a:p>
      </dgm:t>
    </dgm:pt>
    <dgm:pt modelId="{A1832058-86ED-43D2-A1FE-8ADAA5EF0BC2}" type="sibTrans" cxnId="{81244208-D441-47AA-9B01-719C484447E4}">
      <dgm:prSet/>
      <dgm:spPr/>
      <dgm:t>
        <a:bodyPr/>
        <a:lstStyle/>
        <a:p>
          <a:endParaRPr lang="en-IN"/>
        </a:p>
      </dgm:t>
    </dgm:pt>
    <dgm:pt modelId="{03659586-ECBB-460A-B33A-6B64A9ADB437}">
      <dgm:prSet phldrT="[Text]" custT="1"/>
      <dgm:spPr/>
      <dgm:t>
        <a:bodyPr/>
        <a:lstStyle/>
        <a:p>
          <a:r>
            <a:rPr lang="en-IN" sz="1800" dirty="0"/>
            <a:t>Components</a:t>
          </a:r>
        </a:p>
      </dgm:t>
    </dgm:pt>
    <dgm:pt modelId="{8DF94783-5825-45D3-937E-705510479052}" type="parTrans" cxnId="{9B4C2BAC-0551-4314-B1D5-04EC520550C0}">
      <dgm:prSet/>
      <dgm:spPr/>
      <dgm:t>
        <a:bodyPr/>
        <a:lstStyle/>
        <a:p>
          <a:endParaRPr lang="en-IN"/>
        </a:p>
      </dgm:t>
    </dgm:pt>
    <dgm:pt modelId="{95444EB7-568B-4394-9AA5-D699AC0EFD2C}" type="sibTrans" cxnId="{9B4C2BAC-0551-4314-B1D5-04EC520550C0}">
      <dgm:prSet/>
      <dgm:spPr/>
      <dgm:t>
        <a:bodyPr/>
        <a:lstStyle/>
        <a:p>
          <a:endParaRPr lang="en-IN"/>
        </a:p>
      </dgm:t>
    </dgm:pt>
    <dgm:pt modelId="{A53A866B-8A64-46A7-BC83-7F6680CCDF71}">
      <dgm:prSet phldrT="[Text]" custT="1"/>
      <dgm:spPr/>
      <dgm:t>
        <a:bodyPr/>
        <a:lstStyle/>
        <a:p>
          <a:r>
            <a:rPr lang="en-IN" sz="1800" dirty="0"/>
            <a:t>Module</a:t>
          </a:r>
        </a:p>
      </dgm:t>
    </dgm:pt>
    <dgm:pt modelId="{29B64D40-8FD1-40DD-BD5D-D076E635D859}" type="parTrans" cxnId="{972F0F8E-CDE4-4726-BC6E-81E71626C9C0}">
      <dgm:prSet/>
      <dgm:spPr/>
      <dgm:t>
        <a:bodyPr/>
        <a:lstStyle/>
        <a:p>
          <a:endParaRPr lang="en-IN"/>
        </a:p>
      </dgm:t>
    </dgm:pt>
    <dgm:pt modelId="{36A6D19A-6373-412C-8E83-1419E6663AB9}" type="sibTrans" cxnId="{972F0F8E-CDE4-4726-BC6E-81E71626C9C0}">
      <dgm:prSet/>
      <dgm:spPr/>
      <dgm:t>
        <a:bodyPr/>
        <a:lstStyle/>
        <a:p>
          <a:endParaRPr lang="en-IN"/>
        </a:p>
      </dgm:t>
    </dgm:pt>
    <dgm:pt modelId="{91F60BEE-39F9-4C32-8E36-C3418E4D4F43}">
      <dgm:prSet phldrT="[Text]" custT="1"/>
      <dgm:spPr/>
      <dgm:t>
        <a:bodyPr/>
        <a:lstStyle/>
        <a:p>
          <a:r>
            <a:rPr lang="en-IN" sz="1800" dirty="0"/>
            <a:t>Templates</a:t>
          </a:r>
        </a:p>
      </dgm:t>
    </dgm:pt>
    <dgm:pt modelId="{E986E1FC-9880-4E34-A74B-72ADA2FD7824}" type="parTrans" cxnId="{05D62611-CFBB-44E4-9124-C605CA0E3CDB}">
      <dgm:prSet/>
      <dgm:spPr/>
      <dgm:t>
        <a:bodyPr/>
        <a:lstStyle/>
        <a:p>
          <a:endParaRPr lang="en-IN"/>
        </a:p>
      </dgm:t>
    </dgm:pt>
    <dgm:pt modelId="{11E2278D-71FC-4F29-BEDE-B358ADF0E3E2}" type="sibTrans" cxnId="{05D62611-CFBB-44E4-9124-C605CA0E3CDB}">
      <dgm:prSet/>
      <dgm:spPr/>
      <dgm:t>
        <a:bodyPr/>
        <a:lstStyle/>
        <a:p>
          <a:endParaRPr lang="en-IN"/>
        </a:p>
      </dgm:t>
    </dgm:pt>
    <dgm:pt modelId="{E41429D7-322E-4F15-9CAD-4CBDAC38565E}">
      <dgm:prSet phldrT="[Text]" custT="1"/>
      <dgm:spPr/>
      <dgm:t>
        <a:bodyPr/>
        <a:lstStyle/>
        <a:p>
          <a:r>
            <a:rPr lang="en-IN" sz="1800" dirty="0"/>
            <a:t>Metadata</a:t>
          </a:r>
        </a:p>
      </dgm:t>
    </dgm:pt>
    <dgm:pt modelId="{33E9FB6B-AB2B-4919-8B1F-C3AF2C4A6C61}" type="parTrans" cxnId="{D8C19FBB-F2DA-464B-B971-CE07A7174AD3}">
      <dgm:prSet/>
      <dgm:spPr/>
      <dgm:t>
        <a:bodyPr/>
        <a:lstStyle/>
        <a:p>
          <a:endParaRPr lang="en-IN"/>
        </a:p>
      </dgm:t>
    </dgm:pt>
    <dgm:pt modelId="{616F2DE6-03B0-4106-94EC-3304EF6F85FC}" type="sibTrans" cxnId="{D8C19FBB-F2DA-464B-B971-CE07A7174AD3}">
      <dgm:prSet/>
      <dgm:spPr/>
      <dgm:t>
        <a:bodyPr/>
        <a:lstStyle/>
        <a:p>
          <a:endParaRPr lang="en-IN"/>
        </a:p>
      </dgm:t>
    </dgm:pt>
    <dgm:pt modelId="{2F0D0A30-A78A-49AB-87D8-1E8BCE30C09C}">
      <dgm:prSet phldrT="[Text]" custT="1"/>
      <dgm:spPr/>
      <dgm:t>
        <a:bodyPr/>
        <a:lstStyle/>
        <a:p>
          <a:r>
            <a:rPr lang="en-IN" sz="1800" dirty="0"/>
            <a:t>Pipes</a:t>
          </a:r>
        </a:p>
      </dgm:t>
    </dgm:pt>
    <dgm:pt modelId="{F9A14874-AC05-41EE-BE25-76FC86F8E85B}" type="parTrans" cxnId="{D1EF24F3-E7F7-46AE-983E-2E9EE62D4DDE}">
      <dgm:prSet/>
      <dgm:spPr/>
      <dgm:t>
        <a:bodyPr/>
        <a:lstStyle/>
        <a:p>
          <a:endParaRPr lang="en-IN"/>
        </a:p>
      </dgm:t>
    </dgm:pt>
    <dgm:pt modelId="{3010F9D4-9FC5-4F38-9416-7FDD477DED3F}" type="sibTrans" cxnId="{D1EF24F3-E7F7-46AE-983E-2E9EE62D4DDE}">
      <dgm:prSet/>
      <dgm:spPr/>
      <dgm:t>
        <a:bodyPr/>
        <a:lstStyle/>
        <a:p>
          <a:endParaRPr lang="en-IN"/>
        </a:p>
      </dgm:t>
    </dgm:pt>
    <dgm:pt modelId="{0802287B-D602-4C58-9557-1764AE87C1A9}" type="pres">
      <dgm:prSet presAssocID="{AC83F364-FBC4-4E69-909B-71242386A7BF}" presName="cycle" presStyleCnt="0">
        <dgm:presLayoutVars>
          <dgm:dir/>
          <dgm:resizeHandles val="exact"/>
        </dgm:presLayoutVars>
      </dgm:prSet>
      <dgm:spPr/>
    </dgm:pt>
    <dgm:pt modelId="{169F143B-ADA3-4DBF-92A3-4436BBDC268B}" type="pres">
      <dgm:prSet presAssocID="{AD6319C4-B854-43A2-9DDB-56DF56B22D1A}" presName="node" presStyleLbl="node1" presStyleIdx="0" presStyleCnt="7">
        <dgm:presLayoutVars>
          <dgm:bulletEnabled val="1"/>
        </dgm:presLayoutVars>
      </dgm:prSet>
      <dgm:spPr/>
    </dgm:pt>
    <dgm:pt modelId="{C0FE38FA-78C4-4181-8214-288F5939B362}" type="pres">
      <dgm:prSet presAssocID="{AD6319C4-B854-43A2-9DDB-56DF56B22D1A}" presName="spNode" presStyleCnt="0"/>
      <dgm:spPr/>
    </dgm:pt>
    <dgm:pt modelId="{063FE281-FBB9-40BF-A03F-7968DA55CC70}" type="pres">
      <dgm:prSet presAssocID="{6C7370A4-03F8-4860-ACBE-F2E93A413F54}" presName="sibTrans" presStyleLbl="sibTrans1D1" presStyleIdx="0" presStyleCnt="7"/>
      <dgm:spPr/>
    </dgm:pt>
    <dgm:pt modelId="{4F19C56F-37EF-4890-A695-FC8619F87204}" type="pres">
      <dgm:prSet presAssocID="{8581B3D0-418A-4EEB-97D0-077E86D2109A}" presName="node" presStyleLbl="node1" presStyleIdx="1" presStyleCnt="7">
        <dgm:presLayoutVars>
          <dgm:bulletEnabled val="1"/>
        </dgm:presLayoutVars>
      </dgm:prSet>
      <dgm:spPr/>
    </dgm:pt>
    <dgm:pt modelId="{31F1DAEB-3605-4C80-AD4A-A27DC7AAAF06}" type="pres">
      <dgm:prSet presAssocID="{8581B3D0-418A-4EEB-97D0-077E86D2109A}" presName="spNode" presStyleCnt="0"/>
      <dgm:spPr/>
    </dgm:pt>
    <dgm:pt modelId="{1DF8FD23-C86C-4F5B-9B72-4272379EF42C}" type="pres">
      <dgm:prSet presAssocID="{A1832058-86ED-43D2-A1FE-8ADAA5EF0BC2}" presName="sibTrans" presStyleLbl="sibTrans1D1" presStyleIdx="1" presStyleCnt="7"/>
      <dgm:spPr/>
    </dgm:pt>
    <dgm:pt modelId="{B5B438C7-8E73-40AA-A072-E5F40219EBF1}" type="pres">
      <dgm:prSet presAssocID="{03659586-ECBB-460A-B33A-6B64A9ADB437}" presName="node" presStyleLbl="node1" presStyleIdx="2" presStyleCnt="7" custScaleX="118091">
        <dgm:presLayoutVars>
          <dgm:bulletEnabled val="1"/>
        </dgm:presLayoutVars>
      </dgm:prSet>
      <dgm:spPr/>
    </dgm:pt>
    <dgm:pt modelId="{95ACCCDD-DE54-4E1B-AC8C-D32A8A7793D9}" type="pres">
      <dgm:prSet presAssocID="{03659586-ECBB-460A-B33A-6B64A9ADB437}" presName="spNode" presStyleCnt="0"/>
      <dgm:spPr/>
    </dgm:pt>
    <dgm:pt modelId="{17829F44-C852-465B-A0E8-D06E0118EB7E}" type="pres">
      <dgm:prSet presAssocID="{95444EB7-568B-4394-9AA5-D699AC0EFD2C}" presName="sibTrans" presStyleLbl="sibTrans1D1" presStyleIdx="2" presStyleCnt="7"/>
      <dgm:spPr/>
    </dgm:pt>
    <dgm:pt modelId="{B09ECBF4-2C10-4E01-A85D-027EB57E99B8}" type="pres">
      <dgm:prSet presAssocID="{A53A866B-8A64-46A7-BC83-7F6680CCDF71}" presName="node" presStyleLbl="node1" presStyleIdx="3" presStyleCnt="7">
        <dgm:presLayoutVars>
          <dgm:bulletEnabled val="1"/>
        </dgm:presLayoutVars>
      </dgm:prSet>
      <dgm:spPr/>
    </dgm:pt>
    <dgm:pt modelId="{04955EC4-B30D-4F4A-8DE0-F610AB67C2DD}" type="pres">
      <dgm:prSet presAssocID="{A53A866B-8A64-46A7-BC83-7F6680CCDF71}" presName="spNode" presStyleCnt="0"/>
      <dgm:spPr/>
    </dgm:pt>
    <dgm:pt modelId="{5B200C1A-59A3-4E3C-847E-5A75E4129531}" type="pres">
      <dgm:prSet presAssocID="{36A6D19A-6373-412C-8E83-1419E6663AB9}" presName="sibTrans" presStyleLbl="sibTrans1D1" presStyleIdx="3" presStyleCnt="7"/>
      <dgm:spPr/>
    </dgm:pt>
    <dgm:pt modelId="{868DABE3-3A3A-4239-9C23-451CAF5A1C48}" type="pres">
      <dgm:prSet presAssocID="{91F60BEE-39F9-4C32-8E36-C3418E4D4F43}" presName="node" presStyleLbl="node1" presStyleIdx="4" presStyleCnt="7">
        <dgm:presLayoutVars>
          <dgm:bulletEnabled val="1"/>
        </dgm:presLayoutVars>
      </dgm:prSet>
      <dgm:spPr/>
    </dgm:pt>
    <dgm:pt modelId="{9A92DA68-831C-4F8A-BF68-7100723AF9F8}" type="pres">
      <dgm:prSet presAssocID="{91F60BEE-39F9-4C32-8E36-C3418E4D4F43}" presName="spNode" presStyleCnt="0"/>
      <dgm:spPr/>
    </dgm:pt>
    <dgm:pt modelId="{0AF5AF1A-5CDF-48AA-AE40-D231E7295C1F}" type="pres">
      <dgm:prSet presAssocID="{11E2278D-71FC-4F29-BEDE-B358ADF0E3E2}" presName="sibTrans" presStyleLbl="sibTrans1D1" presStyleIdx="4" presStyleCnt="7"/>
      <dgm:spPr/>
    </dgm:pt>
    <dgm:pt modelId="{E8CC3247-B96E-426F-8F64-C72951B22EC2}" type="pres">
      <dgm:prSet presAssocID="{E41429D7-322E-4F15-9CAD-4CBDAC38565E}" presName="node" presStyleLbl="node1" presStyleIdx="5" presStyleCnt="7">
        <dgm:presLayoutVars>
          <dgm:bulletEnabled val="1"/>
        </dgm:presLayoutVars>
      </dgm:prSet>
      <dgm:spPr/>
    </dgm:pt>
    <dgm:pt modelId="{36893209-DCBA-4FFC-B09D-8989D839B83C}" type="pres">
      <dgm:prSet presAssocID="{E41429D7-322E-4F15-9CAD-4CBDAC38565E}" presName="spNode" presStyleCnt="0"/>
      <dgm:spPr/>
    </dgm:pt>
    <dgm:pt modelId="{80986F78-B0A2-4C89-BE4E-5A56369D0F1C}" type="pres">
      <dgm:prSet presAssocID="{616F2DE6-03B0-4106-94EC-3304EF6F85FC}" presName="sibTrans" presStyleLbl="sibTrans1D1" presStyleIdx="5" presStyleCnt="7"/>
      <dgm:spPr/>
    </dgm:pt>
    <dgm:pt modelId="{A2C28BC2-2A1B-487E-A983-5661CFD49A25}" type="pres">
      <dgm:prSet presAssocID="{2F0D0A30-A78A-49AB-87D8-1E8BCE30C09C}" presName="node" presStyleLbl="node1" presStyleIdx="6" presStyleCnt="7">
        <dgm:presLayoutVars>
          <dgm:bulletEnabled val="1"/>
        </dgm:presLayoutVars>
      </dgm:prSet>
      <dgm:spPr/>
    </dgm:pt>
    <dgm:pt modelId="{1C0A718E-4464-4C4C-99A9-987954C66A7F}" type="pres">
      <dgm:prSet presAssocID="{2F0D0A30-A78A-49AB-87D8-1E8BCE30C09C}" presName="spNode" presStyleCnt="0"/>
      <dgm:spPr/>
    </dgm:pt>
    <dgm:pt modelId="{9E6D61C7-A6C8-482A-BA98-3330ECA93F09}" type="pres">
      <dgm:prSet presAssocID="{3010F9D4-9FC5-4F38-9416-7FDD477DED3F}" presName="sibTrans" presStyleLbl="sibTrans1D1" presStyleIdx="6" presStyleCnt="7"/>
      <dgm:spPr/>
    </dgm:pt>
  </dgm:ptLst>
  <dgm:cxnLst>
    <dgm:cxn modelId="{81244208-D441-47AA-9B01-719C484447E4}" srcId="{AC83F364-FBC4-4E69-909B-71242386A7BF}" destId="{8581B3D0-418A-4EEB-97D0-077E86D2109A}" srcOrd="1" destOrd="0" parTransId="{C318B3B1-F6DA-4294-AC69-30A6D224A3F7}" sibTransId="{A1832058-86ED-43D2-A1FE-8ADAA5EF0BC2}"/>
    <dgm:cxn modelId="{05D62611-CFBB-44E4-9124-C605CA0E3CDB}" srcId="{AC83F364-FBC4-4E69-909B-71242386A7BF}" destId="{91F60BEE-39F9-4C32-8E36-C3418E4D4F43}" srcOrd="4" destOrd="0" parTransId="{E986E1FC-9880-4E34-A74B-72ADA2FD7824}" sibTransId="{11E2278D-71FC-4F29-BEDE-B358ADF0E3E2}"/>
    <dgm:cxn modelId="{20190B22-86BD-457F-9BC4-987FEEE108A3}" type="presOf" srcId="{6C7370A4-03F8-4860-ACBE-F2E93A413F54}" destId="{063FE281-FBB9-40BF-A03F-7968DA55CC70}" srcOrd="0" destOrd="0" presId="urn:microsoft.com/office/officeart/2005/8/layout/cycle6"/>
    <dgm:cxn modelId="{085A9E27-086E-42BE-8A18-BE40E9A18218}" type="presOf" srcId="{AD6319C4-B854-43A2-9DDB-56DF56B22D1A}" destId="{169F143B-ADA3-4DBF-92A3-4436BBDC268B}" srcOrd="0" destOrd="0" presId="urn:microsoft.com/office/officeart/2005/8/layout/cycle6"/>
    <dgm:cxn modelId="{18C00033-7BC3-49F1-AE97-8585A835397F}" type="presOf" srcId="{03659586-ECBB-460A-B33A-6B64A9ADB437}" destId="{B5B438C7-8E73-40AA-A072-E5F40219EBF1}" srcOrd="0" destOrd="0" presId="urn:microsoft.com/office/officeart/2005/8/layout/cycle6"/>
    <dgm:cxn modelId="{5A5CCE41-02CD-4851-A137-123F64287E29}" type="presOf" srcId="{3010F9D4-9FC5-4F38-9416-7FDD477DED3F}" destId="{9E6D61C7-A6C8-482A-BA98-3330ECA93F09}" srcOrd="0" destOrd="0" presId="urn:microsoft.com/office/officeart/2005/8/layout/cycle6"/>
    <dgm:cxn modelId="{C7D38F66-D032-43E2-BDE2-84F79782C4D8}" type="presOf" srcId="{36A6D19A-6373-412C-8E83-1419E6663AB9}" destId="{5B200C1A-59A3-4E3C-847E-5A75E4129531}" srcOrd="0" destOrd="0" presId="urn:microsoft.com/office/officeart/2005/8/layout/cycle6"/>
    <dgm:cxn modelId="{DAEFC669-ABFB-4A9B-A4E5-C9B72135EE43}" type="presOf" srcId="{11E2278D-71FC-4F29-BEDE-B358ADF0E3E2}" destId="{0AF5AF1A-5CDF-48AA-AE40-D231E7295C1F}" srcOrd="0" destOrd="0" presId="urn:microsoft.com/office/officeart/2005/8/layout/cycle6"/>
    <dgm:cxn modelId="{12E5D86B-EEC9-4C81-86D3-EB2335434601}" type="presOf" srcId="{E41429D7-322E-4F15-9CAD-4CBDAC38565E}" destId="{E8CC3247-B96E-426F-8F64-C72951B22EC2}" srcOrd="0" destOrd="0" presId="urn:microsoft.com/office/officeart/2005/8/layout/cycle6"/>
    <dgm:cxn modelId="{7A34C36E-C55C-44CD-8470-B448E4A9A05D}" type="presOf" srcId="{A1832058-86ED-43D2-A1FE-8ADAA5EF0BC2}" destId="{1DF8FD23-C86C-4F5B-9B72-4272379EF42C}" srcOrd="0" destOrd="0" presId="urn:microsoft.com/office/officeart/2005/8/layout/cycle6"/>
    <dgm:cxn modelId="{BF937D88-9A1E-4E63-883C-C8E4FFB3A63D}" type="presOf" srcId="{AC83F364-FBC4-4E69-909B-71242386A7BF}" destId="{0802287B-D602-4C58-9557-1764AE87C1A9}" srcOrd="0" destOrd="0" presId="urn:microsoft.com/office/officeart/2005/8/layout/cycle6"/>
    <dgm:cxn modelId="{972F0F8E-CDE4-4726-BC6E-81E71626C9C0}" srcId="{AC83F364-FBC4-4E69-909B-71242386A7BF}" destId="{A53A866B-8A64-46A7-BC83-7F6680CCDF71}" srcOrd="3" destOrd="0" parTransId="{29B64D40-8FD1-40DD-BD5D-D076E635D859}" sibTransId="{36A6D19A-6373-412C-8E83-1419E6663AB9}"/>
    <dgm:cxn modelId="{59C13894-FA0F-497E-A895-789CC1E8652B}" type="presOf" srcId="{91F60BEE-39F9-4C32-8E36-C3418E4D4F43}" destId="{868DABE3-3A3A-4239-9C23-451CAF5A1C48}" srcOrd="0" destOrd="0" presId="urn:microsoft.com/office/officeart/2005/8/layout/cycle6"/>
    <dgm:cxn modelId="{62C5FAAA-F1A8-4FB9-8751-7A17C7E2A11A}" type="presOf" srcId="{8581B3D0-418A-4EEB-97D0-077E86D2109A}" destId="{4F19C56F-37EF-4890-A695-FC8619F87204}" srcOrd="0" destOrd="0" presId="urn:microsoft.com/office/officeart/2005/8/layout/cycle6"/>
    <dgm:cxn modelId="{9B4C2BAC-0551-4314-B1D5-04EC520550C0}" srcId="{AC83F364-FBC4-4E69-909B-71242386A7BF}" destId="{03659586-ECBB-460A-B33A-6B64A9ADB437}" srcOrd="2" destOrd="0" parTransId="{8DF94783-5825-45D3-937E-705510479052}" sibTransId="{95444EB7-568B-4394-9AA5-D699AC0EFD2C}"/>
    <dgm:cxn modelId="{D8C19FBB-F2DA-464B-B971-CE07A7174AD3}" srcId="{AC83F364-FBC4-4E69-909B-71242386A7BF}" destId="{E41429D7-322E-4F15-9CAD-4CBDAC38565E}" srcOrd="5" destOrd="0" parTransId="{33E9FB6B-AB2B-4919-8B1F-C3AF2C4A6C61}" sibTransId="{616F2DE6-03B0-4106-94EC-3304EF6F85FC}"/>
    <dgm:cxn modelId="{C3E302C1-AB80-4CF2-BA2D-C8F5E5353C37}" type="presOf" srcId="{616F2DE6-03B0-4106-94EC-3304EF6F85FC}" destId="{80986F78-B0A2-4C89-BE4E-5A56369D0F1C}" srcOrd="0" destOrd="0" presId="urn:microsoft.com/office/officeart/2005/8/layout/cycle6"/>
    <dgm:cxn modelId="{DDC7D9CA-FFD8-4965-B72D-E84F99E0E3F9}" type="presOf" srcId="{2F0D0A30-A78A-49AB-87D8-1E8BCE30C09C}" destId="{A2C28BC2-2A1B-487E-A983-5661CFD49A25}" srcOrd="0" destOrd="0" presId="urn:microsoft.com/office/officeart/2005/8/layout/cycle6"/>
    <dgm:cxn modelId="{DDC48CD3-0CFA-4460-941C-02A6FF60D494}" type="presOf" srcId="{A53A866B-8A64-46A7-BC83-7F6680CCDF71}" destId="{B09ECBF4-2C10-4E01-A85D-027EB57E99B8}" srcOrd="0" destOrd="0" presId="urn:microsoft.com/office/officeart/2005/8/layout/cycle6"/>
    <dgm:cxn modelId="{2F8DEBDD-1487-4F8E-A868-1F978CA4F86B}" srcId="{AC83F364-FBC4-4E69-909B-71242386A7BF}" destId="{AD6319C4-B854-43A2-9DDB-56DF56B22D1A}" srcOrd="0" destOrd="0" parTransId="{B1975E7D-0E6C-443F-989F-B28128828DA8}" sibTransId="{6C7370A4-03F8-4860-ACBE-F2E93A413F54}"/>
    <dgm:cxn modelId="{9E9CE6E5-EFA5-4692-8312-22D5E5B87900}" type="presOf" srcId="{95444EB7-568B-4394-9AA5-D699AC0EFD2C}" destId="{17829F44-C852-465B-A0E8-D06E0118EB7E}" srcOrd="0" destOrd="0" presId="urn:microsoft.com/office/officeart/2005/8/layout/cycle6"/>
    <dgm:cxn modelId="{D1EF24F3-E7F7-46AE-983E-2E9EE62D4DDE}" srcId="{AC83F364-FBC4-4E69-909B-71242386A7BF}" destId="{2F0D0A30-A78A-49AB-87D8-1E8BCE30C09C}" srcOrd="6" destOrd="0" parTransId="{F9A14874-AC05-41EE-BE25-76FC86F8E85B}" sibTransId="{3010F9D4-9FC5-4F38-9416-7FDD477DED3F}"/>
    <dgm:cxn modelId="{F02C7C5D-9E1D-4606-949A-69D490AA19E1}" type="presParOf" srcId="{0802287B-D602-4C58-9557-1764AE87C1A9}" destId="{169F143B-ADA3-4DBF-92A3-4436BBDC268B}" srcOrd="0" destOrd="0" presId="urn:microsoft.com/office/officeart/2005/8/layout/cycle6"/>
    <dgm:cxn modelId="{8E0A26CF-3632-498E-B0CE-F1CEC225474E}" type="presParOf" srcId="{0802287B-D602-4C58-9557-1764AE87C1A9}" destId="{C0FE38FA-78C4-4181-8214-288F5939B362}" srcOrd="1" destOrd="0" presId="urn:microsoft.com/office/officeart/2005/8/layout/cycle6"/>
    <dgm:cxn modelId="{412855D7-F605-42EC-BE12-EBFF1C81209B}" type="presParOf" srcId="{0802287B-D602-4C58-9557-1764AE87C1A9}" destId="{063FE281-FBB9-40BF-A03F-7968DA55CC70}" srcOrd="2" destOrd="0" presId="urn:microsoft.com/office/officeart/2005/8/layout/cycle6"/>
    <dgm:cxn modelId="{BD6AC2DF-80D2-43CA-99F8-B8829EC5F0D1}" type="presParOf" srcId="{0802287B-D602-4C58-9557-1764AE87C1A9}" destId="{4F19C56F-37EF-4890-A695-FC8619F87204}" srcOrd="3" destOrd="0" presId="urn:microsoft.com/office/officeart/2005/8/layout/cycle6"/>
    <dgm:cxn modelId="{0B592FC8-762C-4187-A240-EA606CEEE855}" type="presParOf" srcId="{0802287B-D602-4C58-9557-1764AE87C1A9}" destId="{31F1DAEB-3605-4C80-AD4A-A27DC7AAAF06}" srcOrd="4" destOrd="0" presId="urn:microsoft.com/office/officeart/2005/8/layout/cycle6"/>
    <dgm:cxn modelId="{27764406-BFAD-411E-8107-06ABEEC6FA6D}" type="presParOf" srcId="{0802287B-D602-4C58-9557-1764AE87C1A9}" destId="{1DF8FD23-C86C-4F5B-9B72-4272379EF42C}" srcOrd="5" destOrd="0" presId="urn:microsoft.com/office/officeart/2005/8/layout/cycle6"/>
    <dgm:cxn modelId="{8FD1C5CD-95D5-4BA2-89A6-3B18F7DBDEC2}" type="presParOf" srcId="{0802287B-D602-4C58-9557-1764AE87C1A9}" destId="{B5B438C7-8E73-40AA-A072-E5F40219EBF1}" srcOrd="6" destOrd="0" presId="urn:microsoft.com/office/officeart/2005/8/layout/cycle6"/>
    <dgm:cxn modelId="{A53A8808-FE0F-48D2-83FD-C689BAF4ED13}" type="presParOf" srcId="{0802287B-D602-4C58-9557-1764AE87C1A9}" destId="{95ACCCDD-DE54-4E1B-AC8C-D32A8A7793D9}" srcOrd="7" destOrd="0" presId="urn:microsoft.com/office/officeart/2005/8/layout/cycle6"/>
    <dgm:cxn modelId="{8E689414-D5A4-4AE5-A60D-CE1A4F85DF76}" type="presParOf" srcId="{0802287B-D602-4C58-9557-1764AE87C1A9}" destId="{17829F44-C852-465B-A0E8-D06E0118EB7E}" srcOrd="8" destOrd="0" presId="urn:microsoft.com/office/officeart/2005/8/layout/cycle6"/>
    <dgm:cxn modelId="{412CDD94-5DB0-4135-A14B-BE5048EE23F6}" type="presParOf" srcId="{0802287B-D602-4C58-9557-1764AE87C1A9}" destId="{B09ECBF4-2C10-4E01-A85D-027EB57E99B8}" srcOrd="9" destOrd="0" presId="urn:microsoft.com/office/officeart/2005/8/layout/cycle6"/>
    <dgm:cxn modelId="{C5952C3E-CE89-48AB-A158-63DA2BEE2528}" type="presParOf" srcId="{0802287B-D602-4C58-9557-1764AE87C1A9}" destId="{04955EC4-B30D-4F4A-8DE0-F610AB67C2DD}" srcOrd="10" destOrd="0" presId="urn:microsoft.com/office/officeart/2005/8/layout/cycle6"/>
    <dgm:cxn modelId="{DE158E87-8224-4A4A-962B-A1E3B264D0C7}" type="presParOf" srcId="{0802287B-D602-4C58-9557-1764AE87C1A9}" destId="{5B200C1A-59A3-4E3C-847E-5A75E4129531}" srcOrd="11" destOrd="0" presId="urn:microsoft.com/office/officeart/2005/8/layout/cycle6"/>
    <dgm:cxn modelId="{A0019D67-342A-4D09-B0AC-C30BBB2D94A1}" type="presParOf" srcId="{0802287B-D602-4C58-9557-1764AE87C1A9}" destId="{868DABE3-3A3A-4239-9C23-451CAF5A1C48}" srcOrd="12" destOrd="0" presId="urn:microsoft.com/office/officeart/2005/8/layout/cycle6"/>
    <dgm:cxn modelId="{C9029296-D582-4DB2-B5C3-511C6929B766}" type="presParOf" srcId="{0802287B-D602-4C58-9557-1764AE87C1A9}" destId="{9A92DA68-831C-4F8A-BF68-7100723AF9F8}" srcOrd="13" destOrd="0" presId="urn:microsoft.com/office/officeart/2005/8/layout/cycle6"/>
    <dgm:cxn modelId="{9CDE98A2-7EF7-4258-9FE1-975A8AAEA235}" type="presParOf" srcId="{0802287B-D602-4C58-9557-1764AE87C1A9}" destId="{0AF5AF1A-5CDF-48AA-AE40-D231E7295C1F}" srcOrd="14" destOrd="0" presId="urn:microsoft.com/office/officeart/2005/8/layout/cycle6"/>
    <dgm:cxn modelId="{95A903A9-181F-41C5-A508-F4E253BB7566}" type="presParOf" srcId="{0802287B-D602-4C58-9557-1764AE87C1A9}" destId="{E8CC3247-B96E-426F-8F64-C72951B22EC2}" srcOrd="15" destOrd="0" presId="urn:microsoft.com/office/officeart/2005/8/layout/cycle6"/>
    <dgm:cxn modelId="{A5E4AC0E-0D9E-4F9F-AEF4-053351302644}" type="presParOf" srcId="{0802287B-D602-4C58-9557-1764AE87C1A9}" destId="{36893209-DCBA-4FFC-B09D-8989D839B83C}" srcOrd="16" destOrd="0" presId="urn:microsoft.com/office/officeart/2005/8/layout/cycle6"/>
    <dgm:cxn modelId="{2288A9AE-E1F3-4EE9-922D-2BA8313B076E}" type="presParOf" srcId="{0802287B-D602-4C58-9557-1764AE87C1A9}" destId="{80986F78-B0A2-4C89-BE4E-5A56369D0F1C}" srcOrd="17" destOrd="0" presId="urn:microsoft.com/office/officeart/2005/8/layout/cycle6"/>
    <dgm:cxn modelId="{7D9D4F58-E57B-428B-B040-CC1D567BBA9C}" type="presParOf" srcId="{0802287B-D602-4C58-9557-1764AE87C1A9}" destId="{A2C28BC2-2A1B-487E-A983-5661CFD49A25}" srcOrd="18" destOrd="0" presId="urn:microsoft.com/office/officeart/2005/8/layout/cycle6"/>
    <dgm:cxn modelId="{9E8DABB9-3501-4F4B-84B6-F88DA8AB7CDA}" type="presParOf" srcId="{0802287B-D602-4C58-9557-1764AE87C1A9}" destId="{1C0A718E-4464-4C4C-99A9-987954C66A7F}" srcOrd="19" destOrd="0" presId="urn:microsoft.com/office/officeart/2005/8/layout/cycle6"/>
    <dgm:cxn modelId="{F7F0E4AB-F1F2-4696-8DC7-E6F51F780002}" type="presParOf" srcId="{0802287B-D602-4C58-9557-1764AE87C1A9}" destId="{9E6D61C7-A6C8-482A-BA98-3330ECA93F09}" srcOrd="20"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F7577-DB65-4F72-84A0-344D1FEE1131}">
      <dsp:nvSpPr>
        <dsp:cNvPr id="0" name=""/>
        <dsp:cNvSpPr/>
      </dsp:nvSpPr>
      <dsp:spPr>
        <a:xfrm>
          <a:off x="0" y="1239409"/>
          <a:ext cx="11317357" cy="165254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147F4C-54E9-4F9A-A775-D327FEFF0A5C}">
      <dsp:nvSpPr>
        <dsp:cNvPr id="0" name=""/>
        <dsp:cNvSpPr/>
      </dsp:nvSpPr>
      <dsp:spPr>
        <a:xfrm>
          <a:off x="636" y="0"/>
          <a:ext cx="1609713"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n-IN" sz="1600" b="1" kern="1200" dirty="0"/>
            <a:t>Angular 1.3</a:t>
          </a:r>
        </a:p>
      </dsp:txBody>
      <dsp:txXfrm>
        <a:off x="636" y="0"/>
        <a:ext cx="1609713" cy="1652546"/>
      </dsp:txXfrm>
    </dsp:sp>
    <dsp:sp modelId="{DDE6F720-F9B0-42A7-A629-17F510BC3576}">
      <dsp:nvSpPr>
        <dsp:cNvPr id="0" name=""/>
        <dsp:cNvSpPr/>
      </dsp:nvSpPr>
      <dsp:spPr>
        <a:xfrm>
          <a:off x="598924" y="1859114"/>
          <a:ext cx="413136" cy="413136"/>
        </a:xfrm>
        <a:prstGeom prst="ellipse">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0EE2CA-8315-4C14-A2FB-9490F7874303}">
      <dsp:nvSpPr>
        <dsp:cNvPr id="0" name=""/>
        <dsp:cNvSpPr/>
      </dsp:nvSpPr>
      <dsp:spPr>
        <a:xfrm>
          <a:off x="1650075" y="2478819"/>
          <a:ext cx="1852745"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IN" sz="1600" b="1" kern="1200" dirty="0"/>
            <a:t>Angular 1.4</a:t>
          </a:r>
        </a:p>
      </dsp:txBody>
      <dsp:txXfrm>
        <a:off x="1650075" y="2478819"/>
        <a:ext cx="1852745" cy="1652546"/>
      </dsp:txXfrm>
    </dsp:sp>
    <dsp:sp modelId="{208B285B-DCE1-40FA-94DE-1D10BCFCF0E5}">
      <dsp:nvSpPr>
        <dsp:cNvPr id="0" name=""/>
        <dsp:cNvSpPr/>
      </dsp:nvSpPr>
      <dsp:spPr>
        <a:xfrm>
          <a:off x="2369879" y="1859114"/>
          <a:ext cx="413136" cy="413136"/>
        </a:xfrm>
        <a:prstGeom prst="ellipse">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12C844-E315-4639-B72F-BD39B5DDC9C9}">
      <dsp:nvSpPr>
        <dsp:cNvPr id="0" name=""/>
        <dsp:cNvSpPr/>
      </dsp:nvSpPr>
      <dsp:spPr>
        <a:xfrm>
          <a:off x="3542546" y="0"/>
          <a:ext cx="1716852"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n-IN" sz="1600" b="1" kern="1200" dirty="0"/>
            <a:t>Angular 1.5</a:t>
          </a:r>
        </a:p>
      </dsp:txBody>
      <dsp:txXfrm>
        <a:off x="3542546" y="0"/>
        <a:ext cx="1716852" cy="1652546"/>
      </dsp:txXfrm>
    </dsp:sp>
    <dsp:sp modelId="{E6E98A49-B588-459B-9F3C-98360859EF84}">
      <dsp:nvSpPr>
        <dsp:cNvPr id="0" name=""/>
        <dsp:cNvSpPr/>
      </dsp:nvSpPr>
      <dsp:spPr>
        <a:xfrm>
          <a:off x="4194404" y="1859114"/>
          <a:ext cx="413136" cy="413136"/>
        </a:xfrm>
        <a:prstGeom prst="ellipse">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EE81847-4A26-4B5B-A807-96FEC642277C}">
      <dsp:nvSpPr>
        <dsp:cNvPr id="0" name=""/>
        <dsp:cNvSpPr/>
      </dsp:nvSpPr>
      <dsp:spPr>
        <a:xfrm>
          <a:off x="5299124" y="2478819"/>
          <a:ext cx="1762751"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IN" sz="1600" b="1" kern="1200" dirty="0"/>
            <a:t>Angular 1.6</a:t>
          </a:r>
        </a:p>
      </dsp:txBody>
      <dsp:txXfrm>
        <a:off x="5299124" y="2478819"/>
        <a:ext cx="1762751" cy="1652546"/>
      </dsp:txXfrm>
    </dsp:sp>
    <dsp:sp modelId="{A6593CB6-ED17-44CB-A126-8DEB775BC253}">
      <dsp:nvSpPr>
        <dsp:cNvPr id="0" name=""/>
        <dsp:cNvSpPr/>
      </dsp:nvSpPr>
      <dsp:spPr>
        <a:xfrm>
          <a:off x="5973932" y="1859114"/>
          <a:ext cx="413136" cy="413136"/>
        </a:xfrm>
        <a:prstGeom prst="ellipse">
          <a:avLst/>
        </a:prstGeom>
        <a:solidFill>
          <a:schemeClr val="accent5">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64C47C-0064-44FA-BAC7-F226B3E45D6C}">
      <dsp:nvSpPr>
        <dsp:cNvPr id="0" name=""/>
        <dsp:cNvSpPr/>
      </dsp:nvSpPr>
      <dsp:spPr>
        <a:xfrm>
          <a:off x="7101601" y="0"/>
          <a:ext cx="1708018"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n-IN" sz="1600" b="1" kern="1200" dirty="0"/>
            <a:t>Angular 2.0</a:t>
          </a:r>
        </a:p>
      </dsp:txBody>
      <dsp:txXfrm>
        <a:off x="7101601" y="0"/>
        <a:ext cx="1708018" cy="1652546"/>
      </dsp:txXfrm>
    </dsp:sp>
    <dsp:sp modelId="{3F2C1B4B-A2B8-475A-B7D7-70E193A4FAFF}">
      <dsp:nvSpPr>
        <dsp:cNvPr id="0" name=""/>
        <dsp:cNvSpPr/>
      </dsp:nvSpPr>
      <dsp:spPr>
        <a:xfrm>
          <a:off x="7749042" y="1859114"/>
          <a:ext cx="413136" cy="413136"/>
        </a:xfrm>
        <a:prstGeom prst="ellipse">
          <a:avLst/>
        </a:prstGeom>
        <a:solidFill>
          <a:schemeClr val="accent6">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01E455-F06C-4C50-830E-C84D29676B91}">
      <dsp:nvSpPr>
        <dsp:cNvPr id="0" name=""/>
        <dsp:cNvSpPr/>
      </dsp:nvSpPr>
      <dsp:spPr>
        <a:xfrm>
          <a:off x="8849345" y="2478819"/>
          <a:ext cx="1335639" cy="16525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IN" sz="1600" b="1" kern="1200" dirty="0"/>
            <a:t>Angular 4</a:t>
          </a:r>
        </a:p>
      </dsp:txBody>
      <dsp:txXfrm>
        <a:off x="8849345" y="2478819"/>
        <a:ext cx="1335639" cy="1652546"/>
      </dsp:txXfrm>
    </dsp:sp>
    <dsp:sp modelId="{AF6A8A94-69CB-4A38-A988-3900133CD848}">
      <dsp:nvSpPr>
        <dsp:cNvPr id="0" name=""/>
        <dsp:cNvSpPr/>
      </dsp:nvSpPr>
      <dsp:spPr>
        <a:xfrm>
          <a:off x="9310596" y="1859114"/>
          <a:ext cx="413136" cy="413136"/>
        </a:xfrm>
        <a:prstGeom prst="ellipse">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F7577-DB65-4F72-84A0-344D1FEE1131}">
      <dsp:nvSpPr>
        <dsp:cNvPr id="0" name=""/>
        <dsp:cNvSpPr/>
      </dsp:nvSpPr>
      <dsp:spPr>
        <a:xfrm>
          <a:off x="0" y="1237773"/>
          <a:ext cx="9601200" cy="1650364"/>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147F4C-54E9-4F9A-A775-D327FEFF0A5C}">
      <dsp:nvSpPr>
        <dsp:cNvPr id="0" name=""/>
        <dsp:cNvSpPr/>
      </dsp:nvSpPr>
      <dsp:spPr>
        <a:xfrm>
          <a:off x="5828" y="0"/>
          <a:ext cx="2641476" cy="1650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n-IN" sz="1600" b="1" kern="1200" dirty="0"/>
            <a:t>Angular 5</a:t>
          </a:r>
        </a:p>
      </dsp:txBody>
      <dsp:txXfrm>
        <a:off x="5828" y="0"/>
        <a:ext cx="2641476" cy="1650364"/>
      </dsp:txXfrm>
    </dsp:sp>
    <dsp:sp modelId="{DDE6F720-F9B0-42A7-A629-17F510BC3576}">
      <dsp:nvSpPr>
        <dsp:cNvPr id="0" name=""/>
        <dsp:cNvSpPr/>
      </dsp:nvSpPr>
      <dsp:spPr>
        <a:xfrm>
          <a:off x="1120271" y="1856660"/>
          <a:ext cx="412591" cy="412591"/>
        </a:xfrm>
        <a:prstGeom prst="ellipse">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0EE2CA-8315-4C14-A2FB-9490F7874303}">
      <dsp:nvSpPr>
        <dsp:cNvPr id="0" name=""/>
        <dsp:cNvSpPr/>
      </dsp:nvSpPr>
      <dsp:spPr>
        <a:xfrm>
          <a:off x="2712493" y="2475547"/>
          <a:ext cx="3040282" cy="1650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IN" sz="1600" b="1" kern="1200" dirty="0"/>
            <a:t>Angular 6</a:t>
          </a:r>
        </a:p>
      </dsp:txBody>
      <dsp:txXfrm>
        <a:off x="2712493" y="2475547"/>
        <a:ext cx="3040282" cy="1650364"/>
      </dsp:txXfrm>
    </dsp:sp>
    <dsp:sp modelId="{208B285B-DCE1-40FA-94DE-1D10BCFCF0E5}">
      <dsp:nvSpPr>
        <dsp:cNvPr id="0" name=""/>
        <dsp:cNvSpPr/>
      </dsp:nvSpPr>
      <dsp:spPr>
        <a:xfrm>
          <a:off x="4026338" y="1856660"/>
          <a:ext cx="412591" cy="412591"/>
        </a:xfrm>
        <a:prstGeom prst="ellipse">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12C844-E315-4639-B72F-BD39B5DDC9C9}">
      <dsp:nvSpPr>
        <dsp:cNvPr id="0" name=""/>
        <dsp:cNvSpPr/>
      </dsp:nvSpPr>
      <dsp:spPr>
        <a:xfrm>
          <a:off x="5817963" y="0"/>
          <a:ext cx="2817287" cy="1650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endParaRPr lang="en-IN" sz="1600" b="1" kern="1200" dirty="0"/>
        </a:p>
      </dsp:txBody>
      <dsp:txXfrm>
        <a:off x="5817963" y="0"/>
        <a:ext cx="2817287" cy="1650364"/>
      </dsp:txXfrm>
    </dsp:sp>
    <dsp:sp modelId="{E6E98A49-B588-459B-9F3C-98360859EF84}">
      <dsp:nvSpPr>
        <dsp:cNvPr id="0" name=""/>
        <dsp:cNvSpPr/>
      </dsp:nvSpPr>
      <dsp:spPr>
        <a:xfrm>
          <a:off x="7020311" y="1856660"/>
          <a:ext cx="412591" cy="412591"/>
        </a:xfrm>
        <a:prstGeom prst="ellipse">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9F143B-ADA3-4DBF-92A3-4436BBDC268B}">
      <dsp:nvSpPr>
        <dsp:cNvPr id="0" name=""/>
        <dsp:cNvSpPr/>
      </dsp:nvSpPr>
      <dsp:spPr>
        <a:xfrm>
          <a:off x="3357495" y="2747"/>
          <a:ext cx="1295796" cy="842267"/>
        </a:xfrm>
        <a:prstGeom prst="roundRect">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Services</a:t>
          </a:r>
        </a:p>
      </dsp:txBody>
      <dsp:txXfrm>
        <a:off x="3398611" y="43863"/>
        <a:ext cx="1213564" cy="760035"/>
      </dsp:txXfrm>
    </dsp:sp>
    <dsp:sp modelId="{063FE281-FBB9-40BF-A03F-7968DA55CC70}">
      <dsp:nvSpPr>
        <dsp:cNvPr id="0" name=""/>
        <dsp:cNvSpPr/>
      </dsp:nvSpPr>
      <dsp:spPr>
        <a:xfrm>
          <a:off x="1600881" y="423881"/>
          <a:ext cx="4809024" cy="4809024"/>
        </a:xfrm>
        <a:custGeom>
          <a:avLst/>
          <a:gdLst/>
          <a:ahLst/>
          <a:cxnLst/>
          <a:rect l="0" t="0" r="0" b="0"/>
          <a:pathLst>
            <a:path>
              <a:moveTo>
                <a:pt x="3060992" y="91351"/>
              </a:moveTo>
              <a:arcTo wR="2404512" hR="2404512" stAng="17150643" swAng="1256624"/>
            </a:path>
          </a:pathLst>
        </a:custGeom>
        <a:noFill/>
        <a:ln w="6350" cap="flat" cmpd="sng" algn="in">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F19C56F-37EF-4890-A695-FC8619F87204}">
      <dsp:nvSpPr>
        <dsp:cNvPr id="0" name=""/>
        <dsp:cNvSpPr/>
      </dsp:nvSpPr>
      <dsp:spPr>
        <a:xfrm>
          <a:off x="5237419" y="908071"/>
          <a:ext cx="1295796" cy="842267"/>
        </a:xfrm>
        <a:prstGeom prst="roundRect">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Directives</a:t>
          </a:r>
        </a:p>
      </dsp:txBody>
      <dsp:txXfrm>
        <a:off x="5278535" y="949187"/>
        <a:ext cx="1213564" cy="760035"/>
      </dsp:txXfrm>
    </dsp:sp>
    <dsp:sp modelId="{1DF8FD23-C86C-4F5B-9B72-4272379EF42C}">
      <dsp:nvSpPr>
        <dsp:cNvPr id="0" name=""/>
        <dsp:cNvSpPr/>
      </dsp:nvSpPr>
      <dsp:spPr>
        <a:xfrm>
          <a:off x="1600881" y="423881"/>
          <a:ext cx="4809024" cy="4809024"/>
        </a:xfrm>
        <a:custGeom>
          <a:avLst/>
          <a:gdLst/>
          <a:ahLst/>
          <a:cxnLst/>
          <a:rect l="0" t="0" r="0" b="0"/>
          <a:pathLst>
            <a:path>
              <a:moveTo>
                <a:pt x="4559244" y="1337362"/>
              </a:moveTo>
              <a:arcTo wR="2404512" hR="2404512" stAng="20019161" swAng="1726353"/>
            </a:path>
          </a:pathLst>
        </a:custGeom>
        <a:noFill/>
        <a:ln w="6350" cap="flat" cmpd="sng" algn="in">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5B438C7-8E73-40AA-A072-E5F40219EBF1}">
      <dsp:nvSpPr>
        <dsp:cNvPr id="0" name=""/>
        <dsp:cNvSpPr/>
      </dsp:nvSpPr>
      <dsp:spPr>
        <a:xfrm>
          <a:off x="5584510" y="2942314"/>
          <a:ext cx="1530219" cy="842267"/>
        </a:xfrm>
        <a:prstGeom prst="roundRect">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Components</a:t>
          </a:r>
        </a:p>
      </dsp:txBody>
      <dsp:txXfrm>
        <a:off x="5625626" y="2983430"/>
        <a:ext cx="1447987" cy="760035"/>
      </dsp:txXfrm>
    </dsp:sp>
    <dsp:sp modelId="{17829F44-C852-465B-A0E8-D06E0118EB7E}">
      <dsp:nvSpPr>
        <dsp:cNvPr id="0" name=""/>
        <dsp:cNvSpPr/>
      </dsp:nvSpPr>
      <dsp:spPr>
        <a:xfrm>
          <a:off x="1600881" y="423881"/>
          <a:ext cx="4809024" cy="4809024"/>
        </a:xfrm>
        <a:custGeom>
          <a:avLst/>
          <a:gdLst/>
          <a:ahLst/>
          <a:cxnLst/>
          <a:rect l="0" t="0" r="0" b="0"/>
          <a:pathLst>
            <a:path>
              <a:moveTo>
                <a:pt x="4606879" y="3369529"/>
              </a:moveTo>
              <a:arcTo wR="2404512" hR="2404512" stAng="1419703" swAng="1358782"/>
            </a:path>
          </a:pathLst>
        </a:custGeom>
        <a:noFill/>
        <a:ln w="6350" cap="flat" cmpd="sng" algn="in">
          <a:solidFill>
            <a:schemeClr val="accent4">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09ECBF4-2C10-4E01-A85D-027EB57E99B8}">
      <dsp:nvSpPr>
        <dsp:cNvPr id="0" name=""/>
        <dsp:cNvSpPr/>
      </dsp:nvSpPr>
      <dsp:spPr>
        <a:xfrm>
          <a:off x="4400774" y="4573651"/>
          <a:ext cx="1295796" cy="842267"/>
        </a:xfrm>
        <a:prstGeom prst="roundRect">
          <a:avLst/>
        </a:prstGeom>
        <a:solidFill>
          <a:schemeClr val="accent5">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Module</a:t>
          </a:r>
        </a:p>
      </dsp:txBody>
      <dsp:txXfrm>
        <a:off x="4441890" y="4614767"/>
        <a:ext cx="1213564" cy="760035"/>
      </dsp:txXfrm>
    </dsp:sp>
    <dsp:sp modelId="{5B200C1A-59A3-4E3C-847E-5A75E4129531}">
      <dsp:nvSpPr>
        <dsp:cNvPr id="0" name=""/>
        <dsp:cNvSpPr/>
      </dsp:nvSpPr>
      <dsp:spPr>
        <a:xfrm>
          <a:off x="1600881" y="423881"/>
          <a:ext cx="4809024" cy="4809024"/>
        </a:xfrm>
        <a:custGeom>
          <a:avLst/>
          <a:gdLst/>
          <a:ahLst/>
          <a:cxnLst/>
          <a:rect l="0" t="0" r="0" b="0"/>
          <a:pathLst>
            <a:path>
              <a:moveTo>
                <a:pt x="2792090" y="4777582"/>
              </a:moveTo>
              <a:arcTo wR="2404512" hR="2404512" stAng="4843449" swAng="1113102"/>
            </a:path>
          </a:pathLst>
        </a:custGeom>
        <a:noFill/>
        <a:ln w="6350" cap="flat" cmpd="sng" algn="in">
          <a:solidFill>
            <a:schemeClr val="accent5">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68DABE3-3A3A-4239-9C23-451CAF5A1C48}">
      <dsp:nvSpPr>
        <dsp:cNvPr id="0" name=""/>
        <dsp:cNvSpPr/>
      </dsp:nvSpPr>
      <dsp:spPr>
        <a:xfrm>
          <a:off x="2314217" y="4573651"/>
          <a:ext cx="1295796" cy="842267"/>
        </a:xfrm>
        <a:prstGeom prst="roundRect">
          <a:avLst/>
        </a:prstGeom>
        <a:solidFill>
          <a:schemeClr val="accent6">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Templates</a:t>
          </a:r>
        </a:p>
      </dsp:txBody>
      <dsp:txXfrm>
        <a:off x="2355333" y="4614767"/>
        <a:ext cx="1213564" cy="760035"/>
      </dsp:txXfrm>
    </dsp:sp>
    <dsp:sp modelId="{0AF5AF1A-5CDF-48AA-AE40-D231E7295C1F}">
      <dsp:nvSpPr>
        <dsp:cNvPr id="0" name=""/>
        <dsp:cNvSpPr/>
      </dsp:nvSpPr>
      <dsp:spPr>
        <a:xfrm>
          <a:off x="1600881" y="423881"/>
          <a:ext cx="4809024" cy="4809024"/>
        </a:xfrm>
        <a:custGeom>
          <a:avLst/>
          <a:gdLst/>
          <a:ahLst/>
          <a:cxnLst/>
          <a:rect l="0" t="0" r="0" b="0"/>
          <a:pathLst>
            <a:path>
              <a:moveTo>
                <a:pt x="743522" y="4143130"/>
              </a:moveTo>
              <a:arcTo wR="2404512" hR="2404512" stAng="8021515" swAng="1358782"/>
            </a:path>
          </a:pathLst>
        </a:custGeom>
        <a:noFill/>
        <a:ln w="6350" cap="flat" cmpd="sng" algn="in">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E8CC3247-B96E-426F-8F64-C72951B22EC2}">
      <dsp:nvSpPr>
        <dsp:cNvPr id="0" name=""/>
        <dsp:cNvSpPr/>
      </dsp:nvSpPr>
      <dsp:spPr>
        <a:xfrm>
          <a:off x="1013269" y="2942314"/>
          <a:ext cx="1295796" cy="842267"/>
        </a:xfrm>
        <a:prstGeom prst="roundRect">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Metadata</a:t>
          </a:r>
        </a:p>
      </dsp:txBody>
      <dsp:txXfrm>
        <a:off x="1054385" y="2983430"/>
        <a:ext cx="1213564" cy="760035"/>
      </dsp:txXfrm>
    </dsp:sp>
    <dsp:sp modelId="{80986F78-B0A2-4C89-BE4E-5A56369D0F1C}">
      <dsp:nvSpPr>
        <dsp:cNvPr id="0" name=""/>
        <dsp:cNvSpPr/>
      </dsp:nvSpPr>
      <dsp:spPr>
        <a:xfrm>
          <a:off x="1600881" y="423881"/>
          <a:ext cx="4809024" cy="4809024"/>
        </a:xfrm>
        <a:custGeom>
          <a:avLst/>
          <a:gdLst/>
          <a:ahLst/>
          <a:cxnLst/>
          <a:rect l="0" t="0" r="0" b="0"/>
          <a:pathLst>
            <a:path>
              <a:moveTo>
                <a:pt x="2153" y="2506260"/>
              </a:moveTo>
              <a:arcTo wR="2404512" hR="2404512" stAng="10654486" swAng="1726353"/>
            </a:path>
          </a:pathLst>
        </a:custGeom>
        <a:noFill/>
        <a:ln w="6350" cap="flat" cmpd="sng" algn="in">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2C28BC2-2A1B-487E-A983-5661CFD49A25}">
      <dsp:nvSpPr>
        <dsp:cNvPr id="0" name=""/>
        <dsp:cNvSpPr/>
      </dsp:nvSpPr>
      <dsp:spPr>
        <a:xfrm>
          <a:off x="1477572" y="908071"/>
          <a:ext cx="1295796" cy="842267"/>
        </a:xfrm>
        <a:prstGeom prst="roundRect">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Pipes</a:t>
          </a:r>
        </a:p>
      </dsp:txBody>
      <dsp:txXfrm>
        <a:off x="1518688" y="949187"/>
        <a:ext cx="1213564" cy="760035"/>
      </dsp:txXfrm>
    </dsp:sp>
    <dsp:sp modelId="{9E6D61C7-A6C8-482A-BA98-3330ECA93F09}">
      <dsp:nvSpPr>
        <dsp:cNvPr id="0" name=""/>
        <dsp:cNvSpPr/>
      </dsp:nvSpPr>
      <dsp:spPr>
        <a:xfrm>
          <a:off x="1600881" y="423881"/>
          <a:ext cx="4809024" cy="4809024"/>
        </a:xfrm>
        <a:custGeom>
          <a:avLst/>
          <a:gdLst/>
          <a:ahLst/>
          <a:cxnLst/>
          <a:rect l="0" t="0" r="0" b="0"/>
          <a:pathLst>
            <a:path>
              <a:moveTo>
                <a:pt x="964563" y="478836"/>
              </a:moveTo>
              <a:arcTo wR="2404512" hR="2404512" stAng="13992733" swAng="1256624"/>
            </a:path>
          </a:pathLst>
        </a:custGeom>
        <a:noFill/>
        <a:ln w="6350" cap="flat" cmpd="sng" algn="in">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8EF01D5-93D0-4CAB-8178-D27CE2280C1B}" type="slidenum">
              <a:rPr lang="en-US" smtClean="0"/>
              <a:t>7</a:t>
            </a:fld>
            <a:endParaRPr lang="en-US"/>
          </a:p>
        </p:txBody>
      </p:sp>
    </p:spTree>
    <p:extLst>
      <p:ext uri="{BB962C8B-B14F-4D97-AF65-F5344CB8AC3E}">
        <p14:creationId xmlns:p14="http://schemas.microsoft.com/office/powerpoint/2010/main" val="4551035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code.visualstudio.com/download" TargetMode="External"/><Relationship Id="rId2" Type="http://schemas.openxmlformats.org/officeDocument/2006/relationships/hyperlink" Target="https://nodejs.org/download/" TargetMode="Externa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s://cli.angular.io/"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3.tmp"/><Relationship Id="rId2" Type="http://schemas.openxmlformats.org/officeDocument/2006/relationships/hyperlink" Target="https://code.visualstudio.com/"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5.tmp"/><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2</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cap="all" dirty="0"/>
              <a:t>Angular Features</a:t>
            </a:r>
            <a:endParaRPr lang="en-US" dirty="0"/>
          </a:p>
        </p:txBody>
      </p:sp>
      <p:sp>
        <p:nvSpPr>
          <p:cNvPr id="3" name="Content Placeholder 2"/>
          <p:cNvSpPr>
            <a:spLocks noGrp="1"/>
          </p:cNvSpPr>
          <p:nvPr>
            <p:ph idx="1"/>
          </p:nvPr>
        </p:nvSpPr>
        <p:spPr/>
        <p:txBody>
          <a:bodyPr/>
          <a:lstStyle/>
          <a:p>
            <a:r>
              <a:rPr lang="en-IN" dirty="0"/>
              <a:t>Cross platform</a:t>
            </a:r>
            <a:endParaRPr lang="en-US" dirty="0"/>
          </a:p>
          <a:p>
            <a:r>
              <a:rPr lang="en-IN" dirty="0"/>
              <a:t>Speed and performance</a:t>
            </a:r>
            <a:endParaRPr lang="en-US" dirty="0"/>
          </a:p>
          <a:p>
            <a:r>
              <a:rPr lang="en-IN" dirty="0"/>
              <a:t>Productivity</a:t>
            </a:r>
            <a:endParaRPr lang="en-US" dirty="0"/>
          </a:p>
          <a:p>
            <a:r>
              <a:rPr lang="en-IN" dirty="0"/>
              <a:t>Full development story</a:t>
            </a:r>
            <a:endParaRPr lang="en-US" b="1" cap="all" dirty="0"/>
          </a:p>
          <a:p>
            <a:endParaRPr lang="en-US" dirty="0"/>
          </a:p>
        </p:txBody>
      </p:sp>
    </p:spTree>
    <p:extLst>
      <p:ext uri="{BB962C8B-B14F-4D97-AF65-F5344CB8AC3E}">
        <p14:creationId xmlns:p14="http://schemas.microsoft.com/office/powerpoint/2010/main" val="10742530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4E0B9-AEDF-4192-BB2B-6BA2C2D5424B}"/>
              </a:ext>
            </a:extLst>
          </p:cNvPr>
          <p:cNvSpPr>
            <a:spLocks noGrp="1"/>
          </p:cNvSpPr>
          <p:nvPr>
            <p:ph type="title"/>
          </p:nvPr>
        </p:nvSpPr>
        <p:spPr/>
        <p:txBody>
          <a:bodyPr/>
          <a:lstStyle/>
          <a:p>
            <a:r>
              <a:rPr lang="en-IN" dirty="0"/>
              <a:t>Building Blocks</a:t>
            </a:r>
          </a:p>
        </p:txBody>
      </p:sp>
      <p:sp>
        <p:nvSpPr>
          <p:cNvPr id="3" name="Content Placeholder 2">
            <a:extLst>
              <a:ext uri="{FF2B5EF4-FFF2-40B4-BE49-F238E27FC236}">
                <a16:creationId xmlns:a16="http://schemas.microsoft.com/office/drawing/2014/main" id="{80C574F9-5940-4FDD-B953-2CFFB63CFE61}"/>
              </a:ext>
            </a:extLst>
          </p:cNvPr>
          <p:cNvSpPr>
            <a:spLocks noGrp="1"/>
          </p:cNvSpPr>
          <p:nvPr>
            <p:ph idx="1"/>
          </p:nvPr>
        </p:nvSpPr>
        <p:spPr/>
        <p:txBody>
          <a:bodyPr>
            <a:normAutofit fontScale="77500" lnSpcReduction="20000"/>
          </a:bodyPr>
          <a:lstStyle/>
          <a:p>
            <a:r>
              <a:rPr lang="en-IN" sz="2800" b="1" dirty="0"/>
              <a:t>Components</a:t>
            </a:r>
          </a:p>
          <a:p>
            <a:r>
              <a:rPr lang="en-IN" sz="2800" b="1" dirty="0"/>
              <a:t>Modules</a:t>
            </a:r>
          </a:p>
          <a:p>
            <a:r>
              <a:rPr lang="en-IN" sz="2800" b="1" dirty="0"/>
              <a:t>Templates</a:t>
            </a:r>
          </a:p>
          <a:p>
            <a:r>
              <a:rPr lang="en-IN" sz="2800" b="1" dirty="0"/>
              <a:t>Metadata</a:t>
            </a:r>
          </a:p>
          <a:p>
            <a:r>
              <a:rPr lang="en-IN" sz="2800" b="1" dirty="0"/>
              <a:t>Pipes</a:t>
            </a:r>
          </a:p>
          <a:p>
            <a:r>
              <a:rPr lang="en-IN" sz="2800" b="1" dirty="0"/>
              <a:t>Services</a:t>
            </a:r>
          </a:p>
          <a:p>
            <a:r>
              <a:rPr lang="en-IN" sz="2800" b="1" dirty="0"/>
              <a:t>Directives</a:t>
            </a:r>
          </a:p>
          <a:p>
            <a:endParaRPr lang="en-IN" sz="2800" b="1" dirty="0"/>
          </a:p>
        </p:txBody>
      </p:sp>
      <p:graphicFrame>
        <p:nvGraphicFramePr>
          <p:cNvPr id="4" name="Diagram 3">
            <a:extLst>
              <a:ext uri="{FF2B5EF4-FFF2-40B4-BE49-F238E27FC236}">
                <a16:creationId xmlns:a16="http://schemas.microsoft.com/office/drawing/2014/main" id="{184B7DDF-85AB-4A60-B17D-D768E00D1833}"/>
              </a:ext>
            </a:extLst>
          </p:cNvPr>
          <p:cNvGraphicFramePr/>
          <p:nvPr>
            <p:extLst/>
          </p:nvPr>
        </p:nvGraphicFramePr>
        <p:xfrm>
          <a:off x="4775200" y="452782"/>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A63095BA-F7C1-4677-A741-A8CD72DD48CC}"/>
              </a:ext>
            </a:extLst>
          </p:cNvPr>
          <p:cNvSpPr txBox="1"/>
          <p:nvPr/>
        </p:nvSpPr>
        <p:spPr>
          <a:xfrm>
            <a:off x="7260081" y="2838949"/>
            <a:ext cx="3158237" cy="646331"/>
          </a:xfrm>
          <a:prstGeom prst="rect">
            <a:avLst/>
          </a:prstGeom>
          <a:noFill/>
        </p:spPr>
        <p:txBody>
          <a:bodyPr wrap="none" rtlCol="0">
            <a:spAutoFit/>
          </a:bodyPr>
          <a:lstStyle/>
          <a:p>
            <a:r>
              <a:rPr lang="en-IN" sz="3600" b="1" dirty="0"/>
              <a:t>Building Blocks</a:t>
            </a:r>
            <a:endParaRPr lang="en-IN" b="1" dirty="0"/>
          </a:p>
        </p:txBody>
      </p:sp>
    </p:spTree>
    <p:extLst>
      <p:ext uri="{BB962C8B-B14F-4D97-AF65-F5344CB8AC3E}">
        <p14:creationId xmlns:p14="http://schemas.microsoft.com/office/powerpoint/2010/main" val="40608742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descr="overview"/>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70000" y="538480"/>
            <a:ext cx="10464800" cy="6085840"/>
          </a:xfrm>
          <a:prstGeom prst="rect">
            <a:avLst/>
          </a:prstGeom>
          <a:noFill/>
          <a:ln>
            <a:noFill/>
          </a:ln>
        </p:spPr>
      </p:pic>
    </p:spTree>
    <p:extLst>
      <p:ext uri="{BB962C8B-B14F-4D97-AF65-F5344CB8AC3E}">
        <p14:creationId xmlns:p14="http://schemas.microsoft.com/office/powerpoint/2010/main" val="49349477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Modules</a:t>
            </a:r>
            <a:endParaRPr lang="en-US" dirty="0"/>
          </a:p>
        </p:txBody>
      </p:sp>
      <p:sp>
        <p:nvSpPr>
          <p:cNvPr id="3" name="Content Placeholder 2"/>
          <p:cNvSpPr>
            <a:spLocks noGrp="1"/>
          </p:cNvSpPr>
          <p:nvPr>
            <p:ph idx="1"/>
          </p:nvPr>
        </p:nvSpPr>
        <p:spPr/>
        <p:txBody>
          <a:bodyPr/>
          <a:lstStyle/>
          <a:p>
            <a:r>
              <a:rPr lang="en-IN" dirty="0"/>
              <a:t>Angular apps are modular and Angular has its own modularity system called </a:t>
            </a:r>
            <a:r>
              <a:rPr lang="en-IN" dirty="0" err="1"/>
              <a:t>NgModule</a:t>
            </a:r>
            <a:r>
              <a:rPr lang="en-IN" dirty="0"/>
              <a:t>. </a:t>
            </a:r>
          </a:p>
          <a:p>
            <a:r>
              <a:rPr lang="en-IN" dirty="0"/>
              <a:t>Every Angular app has at least one </a:t>
            </a:r>
            <a:r>
              <a:rPr lang="en-IN" dirty="0" err="1"/>
              <a:t>NgModule</a:t>
            </a:r>
            <a:r>
              <a:rPr lang="en-IN" dirty="0"/>
              <a:t> class, the root module, conventionally named </a:t>
            </a:r>
            <a:r>
              <a:rPr lang="en-IN" dirty="0" err="1"/>
              <a:t>AppModule</a:t>
            </a:r>
            <a:r>
              <a:rPr lang="en-IN" dirty="0"/>
              <a:t>. </a:t>
            </a:r>
            <a:endParaRPr lang="en-US" dirty="0"/>
          </a:p>
        </p:txBody>
      </p:sp>
    </p:spTree>
    <p:extLst>
      <p:ext uri="{BB962C8B-B14F-4D97-AF65-F5344CB8AC3E}">
        <p14:creationId xmlns:p14="http://schemas.microsoft.com/office/powerpoint/2010/main" val="27322994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ngular libraries</a:t>
            </a:r>
            <a:endParaRPr lang="en-US" dirty="0"/>
          </a:p>
        </p:txBody>
      </p:sp>
      <p:sp>
        <p:nvSpPr>
          <p:cNvPr id="3" name="Content Placeholder 2"/>
          <p:cNvSpPr>
            <a:spLocks noGrp="1"/>
          </p:cNvSpPr>
          <p:nvPr>
            <p:ph idx="1"/>
          </p:nvPr>
        </p:nvSpPr>
        <p:spPr/>
        <p:txBody>
          <a:bodyPr>
            <a:normAutofit/>
          </a:bodyPr>
          <a:lstStyle/>
          <a:p>
            <a:r>
              <a:rPr lang="en-IN" dirty="0"/>
              <a:t>Angular ships as a collection of JavaScript modules. You can think of them as library modules. </a:t>
            </a:r>
          </a:p>
          <a:p>
            <a:r>
              <a:rPr lang="en-IN" dirty="0"/>
              <a:t>Each Angular library name begins with the @angular prefix. You install them with the </a:t>
            </a:r>
            <a:r>
              <a:rPr lang="en-IN" b="1" dirty="0" err="1"/>
              <a:t>npm</a:t>
            </a:r>
            <a:r>
              <a:rPr lang="en-IN" dirty="0"/>
              <a:t> package manager and import parts of them with JavaScript import statements.</a:t>
            </a:r>
            <a:endParaRPr lang="en-US" dirty="0"/>
          </a:p>
          <a:p>
            <a:pPr lvl="1"/>
            <a:r>
              <a:rPr lang="en-IN" dirty="0"/>
              <a:t>Component 		@angular/core</a:t>
            </a:r>
            <a:endParaRPr lang="en-US" dirty="0"/>
          </a:p>
          <a:p>
            <a:pPr lvl="1"/>
            <a:r>
              <a:rPr lang="en-IN" dirty="0" err="1"/>
              <a:t>BrowserModule</a:t>
            </a:r>
            <a:r>
              <a:rPr lang="en-IN" dirty="0"/>
              <a:t> 		@angular/platform-browser</a:t>
            </a:r>
            <a:endParaRPr lang="en-US" dirty="0"/>
          </a:p>
          <a:p>
            <a:pPr lvl="1"/>
            <a:r>
              <a:rPr lang="en-IN" dirty="0" err="1"/>
              <a:t>FormsModule</a:t>
            </a:r>
            <a:r>
              <a:rPr lang="en-IN" dirty="0"/>
              <a:t>		@angular/forms</a:t>
            </a:r>
            <a:endParaRPr lang="en-US" dirty="0"/>
          </a:p>
        </p:txBody>
      </p:sp>
    </p:spTree>
    <p:extLst>
      <p:ext uri="{BB962C8B-B14F-4D97-AF65-F5344CB8AC3E}">
        <p14:creationId xmlns:p14="http://schemas.microsoft.com/office/powerpoint/2010/main" val="52395184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mponent</a:t>
            </a:r>
            <a:endParaRPr lang="en-US" dirty="0"/>
          </a:p>
        </p:txBody>
      </p:sp>
      <p:sp>
        <p:nvSpPr>
          <p:cNvPr id="3" name="Content Placeholder 2"/>
          <p:cNvSpPr>
            <a:spLocks noGrp="1"/>
          </p:cNvSpPr>
          <p:nvPr>
            <p:ph idx="1"/>
          </p:nvPr>
        </p:nvSpPr>
        <p:spPr/>
        <p:txBody>
          <a:bodyPr>
            <a:normAutofit/>
          </a:bodyPr>
          <a:lstStyle/>
          <a:p>
            <a:r>
              <a:rPr lang="en-IN" dirty="0"/>
              <a:t>A component controls a patch of screen called a view and used to manage templates. </a:t>
            </a:r>
          </a:p>
          <a:p>
            <a:r>
              <a:rPr lang="en-IN" dirty="0"/>
              <a:t>You define a component's application logic—what it does to support the view—inside a class. </a:t>
            </a:r>
          </a:p>
          <a:p>
            <a:r>
              <a:rPr lang="en-IN" dirty="0"/>
              <a:t>The class interacts with the view through an API of properties and methods.</a:t>
            </a:r>
            <a:endParaRPr lang="en-US" dirty="0"/>
          </a:p>
        </p:txBody>
      </p:sp>
    </p:spTree>
    <p:extLst>
      <p:ext uri="{BB962C8B-B14F-4D97-AF65-F5344CB8AC3E}">
        <p14:creationId xmlns:p14="http://schemas.microsoft.com/office/powerpoint/2010/main" val="373578588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ormAutofit/>
          </a:bodyPr>
          <a:lstStyle/>
          <a:p>
            <a:r>
              <a:rPr lang="en-IN" b="1" cap="all"/>
              <a:t>Template</a:t>
            </a:r>
            <a:endParaRPr lang="en-US" b="1" cap="all"/>
          </a:p>
          <a:p>
            <a:pPr lvl="1"/>
            <a:r>
              <a:rPr lang="en-IN"/>
              <a:t>A template is a form of HTML that tells Angular how to render the component</a:t>
            </a:r>
            <a:endParaRPr lang="en-US"/>
          </a:p>
          <a:p>
            <a:r>
              <a:rPr lang="en-IN" b="1" cap="all"/>
              <a:t>Metadata</a:t>
            </a:r>
            <a:endParaRPr lang="en-US" b="1" cap="all"/>
          </a:p>
          <a:p>
            <a:pPr lvl="1"/>
            <a:r>
              <a:rPr lang="en-IN"/>
              <a:t>Metadata tells Angular how to process a class. We can attach metadata to a class by using a </a:t>
            </a:r>
            <a:r>
              <a:rPr lang="en-IN" b="1"/>
              <a:t>decorator. </a:t>
            </a:r>
            <a:r>
              <a:rPr lang="en-IN"/>
              <a:t>@Component</a:t>
            </a:r>
            <a:r>
              <a:rPr lang="en-IN" b="1"/>
              <a:t>, </a:t>
            </a:r>
            <a:r>
              <a:rPr lang="en-IN"/>
              <a:t>@Injectable, @Input, and @Output are a few of the more popular decorators</a:t>
            </a:r>
            <a:endParaRPr lang="en-US" dirty="0"/>
          </a:p>
        </p:txBody>
      </p:sp>
    </p:spTree>
    <p:extLst>
      <p:ext uri="{BB962C8B-B14F-4D97-AF65-F5344CB8AC3E}">
        <p14:creationId xmlns:p14="http://schemas.microsoft.com/office/powerpoint/2010/main" val="38742089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IN" dirty="0"/>
              <a:t>Environment Setup</a:t>
            </a:r>
            <a:br>
              <a:rPr lang="en-US" dirty="0"/>
            </a:br>
            <a:endParaRPr lang="en-US" dirty="0"/>
          </a:p>
        </p:txBody>
      </p:sp>
      <p:sp>
        <p:nvSpPr>
          <p:cNvPr id="14" name="Content Placeholder 13"/>
          <p:cNvSpPr>
            <a:spLocks noGrp="1"/>
          </p:cNvSpPr>
          <p:nvPr>
            <p:ph idx="1"/>
          </p:nvPr>
        </p:nvSpPr>
        <p:spPr>
          <a:xfrm>
            <a:off x="1371600" y="1364957"/>
            <a:ext cx="8596312" cy="5493043"/>
          </a:xfrm>
        </p:spPr>
        <p:txBody>
          <a:bodyPr>
            <a:normAutofit lnSpcReduction="10000"/>
          </a:bodyPr>
          <a:lstStyle/>
          <a:p>
            <a:r>
              <a:rPr lang="en-IN" b="1" dirty="0" err="1"/>
              <a:t>Node.Js</a:t>
            </a:r>
            <a:r>
              <a:rPr lang="en-IN" b="1" dirty="0"/>
              <a:t> and </a:t>
            </a:r>
            <a:r>
              <a:rPr lang="en-IN" b="1" dirty="0" err="1"/>
              <a:t>npm</a:t>
            </a:r>
            <a:endParaRPr lang="en-IN" b="1" dirty="0"/>
          </a:p>
          <a:p>
            <a:pPr lvl="1"/>
            <a:r>
              <a:rPr lang="en-IN" sz="1500" dirty="0"/>
              <a:t>To get started with Angular, you’ll need to have Node.js installed.</a:t>
            </a:r>
          </a:p>
          <a:p>
            <a:pPr lvl="1"/>
            <a:r>
              <a:rPr lang="en-IN" sz="1500" dirty="0"/>
              <a:t>There are a couple of different ways you can install Node.js, so please refer to </a:t>
            </a:r>
            <a:r>
              <a:rPr lang="en-IN" sz="1500" dirty="0">
                <a:hlinkClick r:id="rId2"/>
              </a:rPr>
              <a:t>the Node.js website</a:t>
            </a:r>
            <a:r>
              <a:rPr lang="en-IN" sz="1500" baseline="30000" dirty="0"/>
              <a:t> </a:t>
            </a:r>
            <a:r>
              <a:rPr lang="en-IN" sz="1500" dirty="0"/>
              <a:t>for detailed information</a:t>
            </a:r>
            <a:r>
              <a:rPr lang="en-US" sz="1500" dirty="0"/>
              <a:t> </a:t>
            </a:r>
            <a:r>
              <a:rPr lang="en-IN" sz="1500" dirty="0">
                <a:hlinkClick r:id="rId2"/>
              </a:rPr>
              <a:t>https://nodejs.org/download/</a:t>
            </a:r>
            <a:endParaRPr lang="en-US" dirty="0"/>
          </a:p>
          <a:p>
            <a:r>
              <a:rPr lang="en-IN" b="1" dirty="0"/>
              <a:t>Angular CLI</a:t>
            </a:r>
          </a:p>
          <a:p>
            <a:pPr lvl="1">
              <a:lnSpc>
                <a:spcPct val="104000"/>
              </a:lnSpc>
            </a:pPr>
            <a:r>
              <a:rPr lang="en-IN" sz="1500" dirty="0"/>
              <a:t>CLI – Command Line Interface – This is simply a tool set, which is used for creating, managing and building angular applications quickly. </a:t>
            </a:r>
          </a:p>
          <a:p>
            <a:pPr lvl="1">
              <a:lnSpc>
                <a:spcPct val="104000"/>
              </a:lnSpc>
            </a:pPr>
            <a:r>
              <a:rPr lang="en-IN" sz="1500" dirty="0"/>
              <a:t>It quickly creates new angular projects, and then you can use some commands to build that project for production and so on. </a:t>
            </a:r>
            <a:endParaRPr lang="en-US" sz="1500" dirty="0"/>
          </a:p>
          <a:p>
            <a:pPr marL="530352" lvl="1" indent="0" fontAlgn="base">
              <a:lnSpc>
                <a:spcPct val="90000"/>
              </a:lnSpc>
              <a:buNone/>
            </a:pPr>
            <a:br>
              <a:rPr lang="en-IN" sz="2400" dirty="0">
                <a:latin typeface="Consolas" panose="020B0609020204030204" pitchFamily="49" charset="0"/>
              </a:rPr>
            </a:br>
            <a:r>
              <a:rPr lang="en-IN" dirty="0">
                <a:latin typeface="Consolas" panose="020B0609020204030204" pitchFamily="49" charset="0"/>
              </a:rPr>
              <a:t>&gt; </a:t>
            </a:r>
            <a:r>
              <a:rPr lang="en-IN" dirty="0" err="1">
                <a:latin typeface="Consolas" panose="020B0609020204030204" pitchFamily="49" charset="0"/>
              </a:rPr>
              <a:t>npm</a:t>
            </a:r>
            <a:r>
              <a:rPr lang="en-IN" dirty="0">
                <a:latin typeface="Consolas" panose="020B0609020204030204" pitchFamily="49" charset="0"/>
              </a:rPr>
              <a:t> install -g @angular/cli</a:t>
            </a:r>
            <a:endParaRPr lang="en-US" dirty="0">
              <a:latin typeface="Consolas" panose="020B0609020204030204" pitchFamily="49" charset="0"/>
            </a:endParaRPr>
          </a:p>
          <a:p>
            <a:r>
              <a:rPr lang="en-IN" b="1" dirty="0"/>
              <a:t>VS Code</a:t>
            </a:r>
          </a:p>
          <a:p>
            <a:pPr lvl="1">
              <a:lnSpc>
                <a:spcPct val="104000"/>
              </a:lnSpc>
            </a:pPr>
            <a:r>
              <a:rPr lang="en-US" sz="1400" dirty="0"/>
              <a:t>Visual Studio Code is a lightweight but powerful source code editor which runs on your desktop and is available for Windows, </a:t>
            </a:r>
            <a:r>
              <a:rPr lang="en-US" sz="1400" dirty="0" err="1"/>
              <a:t>macOS</a:t>
            </a:r>
            <a:r>
              <a:rPr lang="en-US" sz="1400" dirty="0"/>
              <a:t> and Linux. </a:t>
            </a:r>
          </a:p>
          <a:p>
            <a:pPr lvl="1">
              <a:lnSpc>
                <a:spcPct val="104000"/>
              </a:lnSpc>
            </a:pPr>
            <a:r>
              <a:rPr lang="en-US" sz="1500" dirty="0">
                <a:hlinkClick r:id="rId3"/>
              </a:rPr>
              <a:t>Download VS Code</a:t>
            </a:r>
            <a:r>
              <a:rPr lang="en-US" sz="1500" dirty="0"/>
              <a:t> - Quickly find the appropriate install for your platform (Windows, </a:t>
            </a:r>
            <a:r>
              <a:rPr lang="en-US" sz="1500" dirty="0" err="1"/>
              <a:t>macOS</a:t>
            </a:r>
            <a:r>
              <a:rPr lang="en-US" sz="1500" dirty="0"/>
              <a:t> and Linux).</a:t>
            </a:r>
          </a:p>
          <a:p>
            <a:endParaRPr lang="en-US" sz="1400" dirty="0"/>
          </a:p>
        </p:txBody>
      </p:sp>
      <p:pic>
        <p:nvPicPr>
          <p:cNvPr id="15" name="Content Placeholder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67912" y="2340317"/>
            <a:ext cx="1857375" cy="2457450"/>
          </a:xfrm>
          <a:prstGeom prst="rect">
            <a:avLst/>
          </a:prstGeom>
        </p:spPr>
      </p:pic>
    </p:spTree>
    <p:extLst>
      <p:ext uri="{BB962C8B-B14F-4D97-AF65-F5344CB8AC3E}">
        <p14:creationId xmlns:p14="http://schemas.microsoft.com/office/powerpoint/2010/main" val="22671917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IN" dirty="0"/>
              <a:t>Create a new Angular application</a:t>
            </a:r>
            <a:endParaRPr lang="en-US" dirty="0"/>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47015615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5" name="Content Placeholder 4"/>
          <p:cNvSpPr>
            <a:spLocks noGrp="1"/>
          </p:cNvSpPr>
          <p:nvPr>
            <p:ph idx="1"/>
          </p:nvPr>
        </p:nvSpPr>
        <p:spPr/>
        <p:txBody>
          <a:bodyPr/>
          <a:lstStyle/>
          <a:p>
            <a:r>
              <a:rPr lang="en-IN" dirty="0" err="1"/>
              <a:t>AngularJS</a:t>
            </a:r>
            <a:r>
              <a:rPr lang="en-IN" dirty="0"/>
              <a:t> is based on the model view controller, whereas Angular 2/4/5/6 is based on the components structure. </a:t>
            </a:r>
            <a:endParaRPr lang="en-US" dirty="0"/>
          </a:p>
          <a:p>
            <a:r>
              <a:rPr lang="en-IN" dirty="0"/>
              <a:t>To install Angular framework, the Angular team came up with Angular CLI which eases the installation. You need to run through a few commands to install Angular.</a:t>
            </a:r>
            <a:endParaRPr lang="en-US" dirty="0"/>
          </a:p>
          <a:p>
            <a:r>
              <a:rPr lang="en-IN" dirty="0"/>
              <a:t>Go to this site </a:t>
            </a:r>
            <a:r>
              <a:rPr lang="en-IN" u="sng" dirty="0">
                <a:hlinkClick r:id="rId2"/>
              </a:rPr>
              <a:t>https://cli.angular.io</a:t>
            </a:r>
            <a:r>
              <a:rPr lang="en-IN" dirty="0"/>
              <a:t> to install Angular CLI.</a:t>
            </a:r>
            <a:endParaRPr lang="en-US" dirty="0"/>
          </a:p>
        </p:txBody>
      </p:sp>
    </p:spTree>
    <p:extLst>
      <p:ext uri="{BB962C8B-B14F-4D97-AF65-F5344CB8AC3E}">
        <p14:creationId xmlns:p14="http://schemas.microsoft.com/office/powerpoint/2010/main" val="69561203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71600" y="314960"/>
            <a:ext cx="9601200" cy="6543039"/>
          </a:xfrm>
        </p:spPr>
        <p:txBody>
          <a:bodyPr>
            <a:normAutofit fontScale="92500" lnSpcReduction="10000"/>
          </a:bodyPr>
          <a:lstStyle/>
          <a:p>
            <a:r>
              <a:rPr lang="en-IN" b="1" dirty="0"/>
              <a:t>Create a new project named first-app with this CLI command.</a:t>
            </a:r>
            <a:endParaRPr lang="en-US" dirty="0"/>
          </a:p>
          <a:p>
            <a:pPr lvl="1"/>
            <a:r>
              <a:rPr lang="en-IN" dirty="0"/>
              <a:t>&gt; ng new first-app</a:t>
            </a:r>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pPr lvl="1"/>
            <a:endParaRPr lang="en-IN" dirty="0"/>
          </a:p>
          <a:p>
            <a:r>
              <a:rPr lang="en-IN" dirty="0"/>
              <a:t>We will use Visual Studio Code IDE for working with Angular; you can use any IDE, i.e., Atom, </a:t>
            </a:r>
            <a:r>
              <a:rPr lang="en-IN" dirty="0" err="1"/>
              <a:t>WebStorm</a:t>
            </a:r>
            <a:r>
              <a:rPr lang="en-IN" dirty="0"/>
              <a:t>, etc.</a:t>
            </a:r>
            <a:endParaRPr lang="en-US" dirty="0"/>
          </a:p>
          <a:p>
            <a:r>
              <a:rPr lang="en-IN" dirty="0"/>
              <a:t>To download Visual Studio Code, go to </a:t>
            </a:r>
            <a:r>
              <a:rPr lang="en-IN" dirty="0">
                <a:hlinkClick r:id="rId2"/>
              </a:rPr>
              <a:t>https://code.visualstudio.com/</a:t>
            </a:r>
            <a:r>
              <a:rPr lang="en-IN" dirty="0"/>
              <a:t> and click Download for Windows.</a:t>
            </a:r>
            <a:endParaRPr lang="en-US" dirty="0"/>
          </a:p>
          <a:p>
            <a:pPr lvl="1"/>
            <a:endParaRPr lang="en-US" dirty="0"/>
          </a:p>
          <a:p>
            <a:endParaRPr lang="en-US" dirty="0"/>
          </a:p>
        </p:txBody>
      </p:sp>
      <p:pic>
        <p:nvPicPr>
          <p:cNvPr id="4" name="Picture 3" descr="C:\WINDOWS\system32\cmd.exe"/>
          <p:cNvPicPr/>
          <p:nvPr/>
        </p:nvPicPr>
        <p:blipFill>
          <a:blip r:embed="rId3">
            <a:extLst>
              <a:ext uri="{28A0092B-C50C-407E-A947-70E740481C1C}">
                <a14:useLocalDpi xmlns:a14="http://schemas.microsoft.com/office/drawing/2010/main" val="0"/>
              </a:ext>
            </a:extLst>
          </a:blip>
          <a:stretch>
            <a:fillRect/>
          </a:stretch>
        </p:blipFill>
        <p:spPr>
          <a:xfrm>
            <a:off x="2047240" y="1194117"/>
            <a:ext cx="9057640" cy="3652203"/>
          </a:xfrm>
          <a:prstGeom prst="rect">
            <a:avLst/>
          </a:prstGeom>
        </p:spPr>
      </p:pic>
    </p:spTree>
    <p:extLst>
      <p:ext uri="{BB962C8B-B14F-4D97-AF65-F5344CB8AC3E}">
        <p14:creationId xmlns:p14="http://schemas.microsoft.com/office/powerpoint/2010/main" val="34884473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423920" y="1740877"/>
            <a:ext cx="7548880" cy="4126523"/>
          </a:xfrm>
        </p:spPr>
        <p:txBody>
          <a:bodyPr/>
          <a:lstStyle/>
          <a:p>
            <a:r>
              <a:rPr lang="en-IN" dirty="0"/>
              <a:t>Now that we have the file structure for our project, let us compile our project with the following command −</a:t>
            </a:r>
            <a:endParaRPr lang="en-US" dirty="0"/>
          </a:p>
          <a:p>
            <a:pPr marL="530352" lvl="1" indent="0">
              <a:lnSpc>
                <a:spcPct val="84000"/>
              </a:lnSpc>
              <a:buNone/>
            </a:pPr>
            <a:r>
              <a:rPr lang="en-IN" sz="2400" dirty="0"/>
              <a:t>&gt; ng serve</a:t>
            </a:r>
            <a:endParaRPr lang="en-US" sz="2400" dirty="0"/>
          </a:p>
          <a:p>
            <a:r>
              <a:rPr lang="en-IN" dirty="0"/>
              <a:t>The ng serve command builds the application and starts the web server.</a:t>
            </a:r>
            <a:endParaRPr lang="en-US" dirty="0"/>
          </a:p>
          <a:p>
            <a:endParaRPr lang="en-US" dirty="0"/>
          </a:p>
        </p:txBody>
      </p:sp>
      <p:pic>
        <p:nvPicPr>
          <p:cNvPr id="4" name="Picture 3" descr="Folder Structure"/>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220720" cy="6858000"/>
          </a:xfrm>
          <a:prstGeom prst="rect">
            <a:avLst/>
          </a:prstGeom>
          <a:noFill/>
          <a:ln>
            <a:noFill/>
          </a:ln>
        </p:spPr>
      </p:pic>
      <p:pic>
        <p:nvPicPr>
          <p:cNvPr id="5" name="Picture 4" descr="ng"/>
          <p:cNvPicPr/>
          <p:nvPr/>
        </p:nvPicPr>
        <p:blipFill>
          <a:blip r:embed="rId3">
            <a:extLst>
              <a:ext uri="{28A0092B-C50C-407E-A947-70E740481C1C}">
                <a14:useLocalDpi xmlns:a14="http://schemas.microsoft.com/office/drawing/2010/main" val="0"/>
              </a:ext>
            </a:extLst>
          </a:blip>
          <a:stretch>
            <a:fillRect/>
          </a:stretch>
        </p:blipFill>
        <p:spPr>
          <a:xfrm>
            <a:off x="3997960" y="4191317"/>
            <a:ext cx="6858000" cy="2458085"/>
          </a:xfrm>
          <a:prstGeom prst="rect">
            <a:avLst/>
          </a:prstGeom>
        </p:spPr>
      </p:pic>
    </p:spTree>
    <p:extLst>
      <p:ext uri="{BB962C8B-B14F-4D97-AF65-F5344CB8AC3E}">
        <p14:creationId xmlns:p14="http://schemas.microsoft.com/office/powerpoint/2010/main" val="166218649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71600" y="701039"/>
            <a:ext cx="10668000" cy="5166361"/>
          </a:xfrm>
        </p:spPr>
        <p:txBody>
          <a:bodyPr/>
          <a:lstStyle/>
          <a:p>
            <a:r>
              <a:rPr lang="en-IN" dirty="0"/>
              <a:t>The web server starts on port 4200. Type the </a:t>
            </a:r>
            <a:r>
              <a:rPr lang="en-IN" dirty="0" err="1"/>
              <a:t>url</a:t>
            </a:r>
            <a:r>
              <a:rPr lang="en-IN" dirty="0"/>
              <a:t> </a:t>
            </a:r>
            <a:r>
              <a:rPr lang="en-IN" b="1" dirty="0"/>
              <a:t>http://localhost:4200/</a:t>
            </a:r>
            <a:r>
              <a:rPr lang="en-IN" dirty="0"/>
              <a:t> in the browser and see the output. Once the project is compiled, you will receive the following output −</a:t>
            </a:r>
            <a:endParaRPr lang="en-US" dirty="0"/>
          </a:p>
          <a:p>
            <a:r>
              <a:rPr lang="en-IN" dirty="0"/>
              <a:t>Once you run </a:t>
            </a:r>
            <a:r>
              <a:rPr lang="en-IN" b="1" dirty="0"/>
              <a:t>http://localhost:4200/</a:t>
            </a:r>
            <a:r>
              <a:rPr lang="en-IN" dirty="0"/>
              <a:t> in the browser, you will be directed to the following screen −</a:t>
            </a:r>
            <a:endParaRPr lang="en-US" dirty="0"/>
          </a:p>
          <a:p>
            <a:endParaRPr lang="en-US" dirty="0"/>
          </a:p>
        </p:txBody>
      </p:sp>
      <p:pic>
        <p:nvPicPr>
          <p:cNvPr id="4" name="Picture 3" descr="FirstApp - Google Chrome"/>
          <p:cNvPicPr/>
          <p:nvPr/>
        </p:nvPicPr>
        <p:blipFill>
          <a:blip r:embed="rId2">
            <a:extLst>
              <a:ext uri="{28A0092B-C50C-407E-A947-70E740481C1C}">
                <a14:useLocalDpi xmlns:a14="http://schemas.microsoft.com/office/drawing/2010/main" val="0"/>
              </a:ext>
            </a:extLst>
          </a:blip>
          <a:stretch>
            <a:fillRect/>
          </a:stretch>
        </p:blipFill>
        <p:spPr>
          <a:xfrm>
            <a:off x="3032760" y="2619374"/>
            <a:ext cx="7421880" cy="4096385"/>
          </a:xfrm>
          <a:prstGeom prst="rect">
            <a:avLst/>
          </a:prstGeom>
        </p:spPr>
      </p:pic>
    </p:spTree>
    <p:extLst>
      <p:ext uri="{BB962C8B-B14F-4D97-AF65-F5344CB8AC3E}">
        <p14:creationId xmlns:p14="http://schemas.microsoft.com/office/powerpoint/2010/main" val="35115965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667880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8588" y="685800"/>
            <a:ext cx="7384211" cy="844062"/>
          </a:xfrm>
        </p:spPr>
        <p:txBody>
          <a:bodyPr>
            <a:normAutofit/>
          </a:bodyPr>
          <a:lstStyle/>
          <a:p>
            <a:r>
              <a:rPr lang="en-IN" dirty="0"/>
              <a:t>Project folder structure</a:t>
            </a:r>
            <a:endParaRPr lang="en-US" dirty="0"/>
          </a:p>
        </p:txBody>
      </p:sp>
      <p:sp>
        <p:nvSpPr>
          <p:cNvPr id="3" name="Content Placeholder 2"/>
          <p:cNvSpPr>
            <a:spLocks noGrp="1"/>
          </p:cNvSpPr>
          <p:nvPr>
            <p:ph idx="1"/>
          </p:nvPr>
        </p:nvSpPr>
        <p:spPr>
          <a:xfrm>
            <a:off x="3528204" y="1740877"/>
            <a:ext cx="8479766" cy="4893603"/>
          </a:xfrm>
        </p:spPr>
        <p:txBody>
          <a:bodyPr>
            <a:noAutofit/>
          </a:bodyPr>
          <a:lstStyle/>
          <a:p>
            <a:r>
              <a:rPr lang="en-IN" sz="1200" dirty="0"/>
              <a:t>The Angular  app folder has the following </a:t>
            </a:r>
            <a:r>
              <a:rPr lang="en-IN" sz="1200" b="1" dirty="0"/>
              <a:t>folder structure</a:t>
            </a:r>
            <a:r>
              <a:rPr lang="en-IN" sz="1200" dirty="0"/>
              <a:t> −</a:t>
            </a:r>
            <a:endParaRPr lang="en-US" sz="1200" dirty="0"/>
          </a:p>
          <a:p>
            <a:pPr lvl="1"/>
            <a:r>
              <a:rPr lang="en-IN" sz="1200" b="1" dirty="0"/>
              <a:t>e2e</a:t>
            </a:r>
            <a:r>
              <a:rPr lang="en-IN" sz="1200" dirty="0"/>
              <a:t> − end to end test folder. Mainly e2e is used for integration testing and helps ensure the application works fine.</a:t>
            </a:r>
            <a:endParaRPr lang="en-US" sz="1200" dirty="0"/>
          </a:p>
          <a:p>
            <a:pPr lvl="1"/>
            <a:r>
              <a:rPr lang="en-IN" sz="1200" b="1" dirty="0" err="1"/>
              <a:t>node_modules</a:t>
            </a:r>
            <a:r>
              <a:rPr lang="en-IN" sz="1200" dirty="0"/>
              <a:t> − The </a:t>
            </a:r>
            <a:r>
              <a:rPr lang="en-IN" sz="1200" dirty="0" err="1"/>
              <a:t>npm</a:t>
            </a:r>
            <a:r>
              <a:rPr lang="en-IN" sz="1200" dirty="0"/>
              <a:t> package installed is </a:t>
            </a:r>
            <a:r>
              <a:rPr lang="en-IN" sz="1200" dirty="0" err="1"/>
              <a:t>node_modules</a:t>
            </a:r>
            <a:r>
              <a:rPr lang="en-IN" sz="1200" dirty="0"/>
              <a:t>. You can open the folder and see the packages available.</a:t>
            </a:r>
            <a:endParaRPr lang="en-US" sz="1200" dirty="0"/>
          </a:p>
          <a:p>
            <a:pPr lvl="1"/>
            <a:r>
              <a:rPr lang="en-IN" sz="1200" b="1" dirty="0" err="1"/>
              <a:t>src</a:t>
            </a:r>
            <a:r>
              <a:rPr lang="en-IN" sz="1200" dirty="0"/>
              <a:t> − This folder is where we will work on the project using Angular.</a:t>
            </a:r>
            <a:endParaRPr lang="en-US" sz="1200" dirty="0"/>
          </a:p>
          <a:p>
            <a:pPr lvl="2"/>
            <a:r>
              <a:rPr lang="en-IN" sz="900" b="1" dirty="0"/>
              <a:t>app </a:t>
            </a:r>
            <a:r>
              <a:rPr lang="en-IN" sz="900" dirty="0"/>
              <a:t>- The Angular </a:t>
            </a:r>
            <a:r>
              <a:rPr lang="en-IN" sz="900" b="1" dirty="0"/>
              <a:t>app</a:t>
            </a:r>
            <a:r>
              <a:rPr lang="en-IN" sz="900" dirty="0"/>
              <a:t> folder has the following </a:t>
            </a:r>
            <a:r>
              <a:rPr lang="en-IN" sz="900" b="1" dirty="0"/>
              <a:t>file structure</a:t>
            </a:r>
            <a:r>
              <a:rPr lang="en-IN" sz="900" dirty="0"/>
              <a:t> –</a:t>
            </a:r>
            <a:endParaRPr lang="en-US" sz="900" dirty="0"/>
          </a:p>
          <a:p>
            <a:pPr lvl="1"/>
            <a:r>
              <a:rPr lang="en-IN" sz="1200" b="1" dirty="0"/>
              <a:t>.angular-</a:t>
            </a:r>
            <a:r>
              <a:rPr lang="en-IN" sz="1200" b="1" dirty="0" err="1"/>
              <a:t>cli.json</a:t>
            </a:r>
            <a:r>
              <a:rPr lang="en-IN" sz="1200" dirty="0"/>
              <a:t> − It basically holds the project name, version of cli, etc.</a:t>
            </a:r>
            <a:endParaRPr lang="en-US" sz="1200" dirty="0"/>
          </a:p>
          <a:p>
            <a:pPr lvl="1"/>
            <a:r>
              <a:rPr lang="en-IN" sz="1200" b="1" dirty="0"/>
              <a:t>.</a:t>
            </a:r>
            <a:r>
              <a:rPr lang="en-IN" sz="1200" b="1" dirty="0" err="1"/>
              <a:t>editorconfig</a:t>
            </a:r>
            <a:r>
              <a:rPr lang="en-IN" sz="1200" dirty="0"/>
              <a:t> − This is the </a:t>
            </a:r>
            <a:r>
              <a:rPr lang="en-IN" sz="1200" dirty="0" err="1"/>
              <a:t>config</a:t>
            </a:r>
            <a:r>
              <a:rPr lang="en-IN" sz="1200" dirty="0"/>
              <a:t> file for the editor.</a:t>
            </a:r>
            <a:endParaRPr lang="en-US" sz="1200" dirty="0"/>
          </a:p>
          <a:p>
            <a:pPr lvl="1"/>
            <a:r>
              <a:rPr lang="en-IN" sz="1200" b="1" dirty="0"/>
              <a:t>.</a:t>
            </a:r>
            <a:r>
              <a:rPr lang="en-IN" sz="1200" b="1" dirty="0" err="1"/>
              <a:t>gitignore</a:t>
            </a:r>
            <a:r>
              <a:rPr lang="en-IN" sz="1200" dirty="0"/>
              <a:t> − A .</a:t>
            </a:r>
            <a:r>
              <a:rPr lang="en-IN" sz="1200" dirty="0" err="1"/>
              <a:t>gitignore</a:t>
            </a:r>
            <a:r>
              <a:rPr lang="en-IN" sz="1200" dirty="0"/>
              <a:t> file should be committed into the repository, in order to share the ignore rules with any other users that clone the repository.</a:t>
            </a:r>
            <a:endParaRPr lang="en-US" sz="1200" dirty="0"/>
          </a:p>
          <a:p>
            <a:pPr lvl="1"/>
            <a:r>
              <a:rPr lang="en-IN" sz="1200" b="1" dirty="0"/>
              <a:t>karma.conf.js</a:t>
            </a:r>
            <a:r>
              <a:rPr lang="en-IN" sz="1200" dirty="0"/>
              <a:t> − This is used for unit testing via the protractor. All the information required for the project is provided in karma.conf.js file.</a:t>
            </a:r>
            <a:endParaRPr lang="en-US" sz="1200" dirty="0"/>
          </a:p>
          <a:p>
            <a:pPr lvl="1"/>
            <a:r>
              <a:rPr lang="en-IN" sz="1200" b="1" dirty="0" err="1"/>
              <a:t>package.json</a:t>
            </a:r>
            <a:r>
              <a:rPr lang="en-IN" sz="1200" dirty="0"/>
              <a:t> − The </a:t>
            </a:r>
            <a:r>
              <a:rPr lang="en-IN" sz="1200" dirty="0" err="1"/>
              <a:t>package.json</a:t>
            </a:r>
            <a:r>
              <a:rPr lang="en-IN" sz="1200" dirty="0"/>
              <a:t> file tells which libraries will be installed into </a:t>
            </a:r>
            <a:r>
              <a:rPr lang="en-IN" sz="1200" dirty="0" err="1"/>
              <a:t>node_modules</a:t>
            </a:r>
            <a:r>
              <a:rPr lang="en-IN" sz="1200" dirty="0"/>
              <a:t> when you run </a:t>
            </a:r>
            <a:r>
              <a:rPr lang="en-IN" sz="1200" dirty="0" err="1"/>
              <a:t>npm</a:t>
            </a:r>
            <a:r>
              <a:rPr lang="en-IN" sz="1200" dirty="0"/>
              <a:t> install.</a:t>
            </a:r>
            <a:endParaRPr lang="en-US" sz="1200" dirty="0"/>
          </a:p>
          <a:p>
            <a:pPr lvl="1"/>
            <a:r>
              <a:rPr lang="en-IN" sz="1200" b="1" dirty="0"/>
              <a:t>protractor.conf.js</a:t>
            </a:r>
            <a:r>
              <a:rPr lang="en-IN" sz="1200" dirty="0"/>
              <a:t> − This is the testing configuration required for the application.</a:t>
            </a:r>
            <a:endParaRPr lang="en-US" sz="1200" dirty="0"/>
          </a:p>
          <a:p>
            <a:pPr lvl="1"/>
            <a:r>
              <a:rPr lang="en-IN" sz="1200" b="1" dirty="0" err="1"/>
              <a:t>tsconfig.json</a:t>
            </a:r>
            <a:r>
              <a:rPr lang="en-IN" sz="1200" dirty="0"/>
              <a:t> − This basically contains the compiler options required during compilation.</a:t>
            </a:r>
            <a:endParaRPr lang="en-US" sz="1200" dirty="0"/>
          </a:p>
          <a:p>
            <a:pPr lvl="1"/>
            <a:r>
              <a:rPr lang="en-IN" sz="1200" b="1" dirty="0" err="1"/>
              <a:t>tslint.json</a:t>
            </a:r>
            <a:r>
              <a:rPr lang="en-IN" sz="1200" dirty="0"/>
              <a:t> − This is the </a:t>
            </a:r>
            <a:r>
              <a:rPr lang="en-IN" sz="1200" dirty="0" err="1"/>
              <a:t>config</a:t>
            </a:r>
            <a:r>
              <a:rPr lang="en-IN" sz="1200" dirty="0"/>
              <a:t> file with rules to be considered while compiling.</a:t>
            </a:r>
            <a:endParaRPr lang="en-US" sz="1200" dirty="0"/>
          </a:p>
          <a:p>
            <a:endParaRPr lang="en-US" sz="1200" dirty="0"/>
          </a:p>
        </p:txBody>
      </p:sp>
      <p:pic>
        <p:nvPicPr>
          <p:cNvPr id="4" name="Picture 3" descr="Final File Structure"/>
          <p:cNvPicPr/>
          <p:nvPr/>
        </p:nvPicPr>
        <p:blipFill>
          <a:blip r:embed="rId2">
            <a:extLst>
              <a:ext uri="{28A0092B-C50C-407E-A947-70E740481C1C}">
                <a14:useLocalDpi xmlns:a14="http://schemas.microsoft.com/office/drawing/2010/main" val="0"/>
              </a:ext>
            </a:extLst>
          </a:blip>
          <a:srcRect/>
          <a:stretch>
            <a:fillRect/>
          </a:stretch>
        </p:blipFill>
        <p:spPr bwMode="auto">
          <a:xfrm>
            <a:off x="0" y="-284672"/>
            <a:ext cx="3528204" cy="7142672"/>
          </a:xfrm>
          <a:prstGeom prst="rect">
            <a:avLst/>
          </a:prstGeom>
          <a:noFill/>
          <a:ln>
            <a:noFill/>
          </a:ln>
        </p:spPr>
      </p:pic>
    </p:spTree>
    <p:extLst>
      <p:ext uri="{BB962C8B-B14F-4D97-AF65-F5344CB8AC3E}">
        <p14:creationId xmlns:p14="http://schemas.microsoft.com/office/powerpoint/2010/main" val="42407870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App</a:t>
            </a:r>
            <a:endParaRPr lang="en-US" dirty="0"/>
          </a:p>
        </p:txBody>
      </p:sp>
      <p:sp>
        <p:nvSpPr>
          <p:cNvPr id="3" name="Content Placeholder 2"/>
          <p:cNvSpPr>
            <a:spLocks noGrp="1"/>
          </p:cNvSpPr>
          <p:nvPr>
            <p:ph idx="1"/>
          </p:nvPr>
        </p:nvSpPr>
        <p:spPr>
          <a:xfrm>
            <a:off x="1371600" y="1740877"/>
            <a:ext cx="9601200" cy="4823825"/>
          </a:xfrm>
        </p:spPr>
        <p:txBody>
          <a:bodyPr>
            <a:normAutofit fontScale="25000" lnSpcReduction="20000"/>
          </a:bodyPr>
          <a:lstStyle/>
          <a:p>
            <a:r>
              <a:rPr lang="en-IN" sz="5600" dirty="0"/>
              <a:t>The App directory contains the files described below. These files are installed by angular-cli by default.</a:t>
            </a:r>
            <a:endParaRPr lang="en-US" sz="5600" dirty="0"/>
          </a:p>
          <a:p>
            <a:pPr lvl="0"/>
            <a:r>
              <a:rPr lang="en-IN" sz="5600" b="1" dirty="0" err="1"/>
              <a:t>app.module.ts</a:t>
            </a:r>
            <a:r>
              <a:rPr lang="en-IN" sz="5600" dirty="0"/>
              <a:t> − If you open the file, you will see that the code has reference to different libraries, which are imported. Angular-cli has used these default libraries for the import – angular/core, platform-browser. The names itself explain the usage of the libraries.</a:t>
            </a:r>
            <a:endParaRPr lang="en-US" sz="5600" dirty="0"/>
          </a:p>
          <a:p>
            <a:r>
              <a:rPr lang="en-IN" sz="5600" dirty="0"/>
              <a:t>They are imported and saved into variables such as </a:t>
            </a:r>
            <a:r>
              <a:rPr lang="en-IN" sz="5600" b="1" dirty="0"/>
              <a:t>declarations, imports, providers</a:t>
            </a:r>
            <a:r>
              <a:rPr lang="en-IN" sz="5600" dirty="0"/>
              <a:t>, and </a:t>
            </a:r>
            <a:r>
              <a:rPr lang="en-IN" sz="5600" b="1" dirty="0"/>
              <a:t>bootstrap</a:t>
            </a:r>
            <a:r>
              <a:rPr lang="en-IN" sz="5600" dirty="0"/>
              <a:t>.</a:t>
            </a:r>
            <a:endParaRPr lang="en-US" sz="5600" dirty="0"/>
          </a:p>
          <a:p>
            <a:pPr marL="530352" lvl="1" indent="0">
              <a:lnSpc>
                <a:spcPct val="104000"/>
              </a:lnSpc>
              <a:buNone/>
            </a:pPr>
            <a:r>
              <a:rPr lang="en-IN" sz="3600" dirty="0"/>
              <a:t>import { </a:t>
            </a:r>
            <a:r>
              <a:rPr lang="en-IN" sz="3600" dirty="0" err="1"/>
              <a:t>BrowserModule</a:t>
            </a:r>
            <a:r>
              <a:rPr lang="en-IN" sz="3600" dirty="0"/>
              <a:t> } from '@angular/platform-browser';</a:t>
            </a:r>
            <a:endParaRPr lang="en-US" sz="3600" dirty="0"/>
          </a:p>
          <a:p>
            <a:pPr marL="530352" lvl="1" indent="0">
              <a:lnSpc>
                <a:spcPct val="104000"/>
              </a:lnSpc>
              <a:buNone/>
            </a:pPr>
            <a:r>
              <a:rPr lang="en-IN" sz="3600" dirty="0"/>
              <a:t>import { </a:t>
            </a:r>
            <a:r>
              <a:rPr lang="en-IN" sz="3600" dirty="0" err="1"/>
              <a:t>NgModule</a:t>
            </a:r>
            <a:r>
              <a:rPr lang="en-IN" sz="3600" dirty="0"/>
              <a:t> } from '@angular/core';</a:t>
            </a:r>
            <a:endParaRPr lang="en-US" sz="3600" dirty="0"/>
          </a:p>
          <a:p>
            <a:pPr marL="530352" lvl="1" indent="0">
              <a:lnSpc>
                <a:spcPct val="104000"/>
              </a:lnSpc>
              <a:buNone/>
            </a:pPr>
            <a:r>
              <a:rPr lang="en-IN" sz="3600" dirty="0"/>
              <a:t>import { </a:t>
            </a:r>
            <a:r>
              <a:rPr lang="en-IN" sz="3600" dirty="0" err="1"/>
              <a:t>AppComponent</a:t>
            </a:r>
            <a:r>
              <a:rPr lang="en-IN" sz="3600" dirty="0"/>
              <a:t> } from './</a:t>
            </a:r>
            <a:r>
              <a:rPr lang="en-IN" sz="3600" dirty="0" err="1"/>
              <a:t>app.component</a:t>
            </a:r>
            <a:r>
              <a:rPr lang="en-IN" sz="3600" dirty="0"/>
              <a:t>';</a:t>
            </a:r>
            <a:endParaRPr lang="en-US" sz="3600" dirty="0"/>
          </a:p>
          <a:p>
            <a:pPr marL="530352" lvl="1" indent="0">
              <a:lnSpc>
                <a:spcPct val="104000"/>
              </a:lnSpc>
              <a:buNone/>
            </a:pPr>
            <a:r>
              <a:rPr lang="en-IN" sz="3600" dirty="0"/>
              <a:t> @</a:t>
            </a:r>
            <a:r>
              <a:rPr lang="en-IN" sz="3600" dirty="0" err="1"/>
              <a:t>NgModule</a:t>
            </a:r>
            <a:r>
              <a:rPr lang="en-IN" sz="3600" dirty="0"/>
              <a:t>({</a:t>
            </a:r>
            <a:endParaRPr lang="en-US" sz="3600" dirty="0"/>
          </a:p>
          <a:p>
            <a:pPr marL="530352" lvl="1" indent="0">
              <a:lnSpc>
                <a:spcPct val="104000"/>
              </a:lnSpc>
              <a:buNone/>
            </a:pPr>
            <a:r>
              <a:rPr lang="en-IN" sz="3600" dirty="0"/>
              <a:t>   declarations: [</a:t>
            </a:r>
            <a:endParaRPr lang="en-US" sz="3600" dirty="0"/>
          </a:p>
          <a:p>
            <a:pPr marL="530352" lvl="1" indent="0">
              <a:lnSpc>
                <a:spcPct val="104000"/>
              </a:lnSpc>
              <a:buNone/>
            </a:pPr>
            <a:r>
              <a:rPr lang="en-IN" sz="3600" dirty="0"/>
              <a:t>      </a:t>
            </a:r>
            <a:r>
              <a:rPr lang="en-IN" sz="3600" dirty="0" err="1"/>
              <a:t>AppComponent</a:t>
            </a:r>
            <a:endParaRPr lang="en-US" sz="3600" dirty="0"/>
          </a:p>
          <a:p>
            <a:pPr marL="530352" lvl="1" indent="0">
              <a:lnSpc>
                <a:spcPct val="104000"/>
              </a:lnSpc>
              <a:buNone/>
            </a:pPr>
            <a:r>
              <a:rPr lang="en-IN" sz="3600" dirty="0"/>
              <a:t>   ],</a:t>
            </a:r>
            <a:endParaRPr lang="en-US" sz="3600" dirty="0"/>
          </a:p>
          <a:p>
            <a:pPr marL="530352" lvl="1" indent="0">
              <a:lnSpc>
                <a:spcPct val="104000"/>
              </a:lnSpc>
              <a:buNone/>
            </a:pPr>
            <a:r>
              <a:rPr lang="en-IN" sz="3600" dirty="0"/>
              <a:t>   imports: [</a:t>
            </a:r>
            <a:endParaRPr lang="en-US" sz="3600" dirty="0"/>
          </a:p>
          <a:p>
            <a:pPr marL="530352" lvl="1" indent="0">
              <a:lnSpc>
                <a:spcPct val="104000"/>
              </a:lnSpc>
              <a:buNone/>
            </a:pPr>
            <a:r>
              <a:rPr lang="en-IN" sz="3600" dirty="0"/>
              <a:t>      </a:t>
            </a:r>
            <a:r>
              <a:rPr lang="en-IN" sz="3600" dirty="0" err="1"/>
              <a:t>BrowserModule</a:t>
            </a:r>
            <a:endParaRPr lang="en-US" sz="3600" dirty="0"/>
          </a:p>
          <a:p>
            <a:pPr marL="530352" lvl="1" indent="0">
              <a:lnSpc>
                <a:spcPct val="104000"/>
              </a:lnSpc>
              <a:buNone/>
            </a:pPr>
            <a:r>
              <a:rPr lang="en-IN" sz="3600" dirty="0"/>
              <a:t>   ],</a:t>
            </a:r>
            <a:endParaRPr lang="en-US" sz="3600" dirty="0"/>
          </a:p>
          <a:p>
            <a:pPr marL="530352" lvl="1" indent="0">
              <a:lnSpc>
                <a:spcPct val="104000"/>
              </a:lnSpc>
              <a:buNone/>
            </a:pPr>
            <a:r>
              <a:rPr lang="en-IN" sz="3600" dirty="0"/>
              <a:t>   providers: [],</a:t>
            </a:r>
            <a:endParaRPr lang="en-US" sz="3600" dirty="0"/>
          </a:p>
          <a:p>
            <a:pPr marL="530352" lvl="1" indent="0">
              <a:lnSpc>
                <a:spcPct val="104000"/>
              </a:lnSpc>
              <a:buNone/>
            </a:pPr>
            <a:r>
              <a:rPr lang="en-IN" sz="3600" dirty="0"/>
              <a:t>   bootstrap: [</a:t>
            </a:r>
            <a:r>
              <a:rPr lang="en-IN" sz="3600" dirty="0" err="1"/>
              <a:t>AppComponent</a:t>
            </a:r>
            <a:r>
              <a:rPr lang="en-IN" sz="3600" dirty="0"/>
              <a:t>]</a:t>
            </a:r>
            <a:endParaRPr lang="en-US" sz="3600" dirty="0"/>
          </a:p>
          <a:p>
            <a:pPr marL="530352" lvl="1" indent="0">
              <a:lnSpc>
                <a:spcPct val="104000"/>
              </a:lnSpc>
              <a:buNone/>
            </a:pPr>
            <a:r>
              <a:rPr lang="en-IN" sz="3600" dirty="0"/>
              <a:t>})</a:t>
            </a:r>
            <a:endParaRPr lang="en-US" sz="3600" dirty="0"/>
          </a:p>
          <a:p>
            <a:pPr marL="530352" lvl="1" indent="0">
              <a:lnSpc>
                <a:spcPct val="104000"/>
              </a:lnSpc>
              <a:buNone/>
            </a:pPr>
            <a:r>
              <a:rPr lang="en-IN" sz="3600" dirty="0"/>
              <a:t> export class </a:t>
            </a:r>
            <a:r>
              <a:rPr lang="en-IN" sz="3600" dirty="0" err="1"/>
              <a:t>AppModule</a:t>
            </a:r>
            <a:r>
              <a:rPr lang="en-IN" sz="3600" dirty="0"/>
              <a:t> { }</a:t>
            </a:r>
            <a:endParaRPr lang="en-US" sz="3600" dirty="0"/>
          </a:p>
          <a:p>
            <a:endParaRPr lang="en-US" dirty="0"/>
          </a:p>
        </p:txBody>
      </p:sp>
    </p:spTree>
    <p:extLst>
      <p:ext uri="{BB962C8B-B14F-4D97-AF65-F5344CB8AC3E}">
        <p14:creationId xmlns:p14="http://schemas.microsoft.com/office/powerpoint/2010/main" val="171854493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ppModule</a:t>
            </a:r>
            <a:endParaRPr lang="en-US" dirty="0"/>
          </a:p>
        </p:txBody>
      </p:sp>
      <p:sp>
        <p:nvSpPr>
          <p:cNvPr id="3" name="Content Placeholder 2"/>
          <p:cNvSpPr>
            <a:spLocks noGrp="1"/>
          </p:cNvSpPr>
          <p:nvPr>
            <p:ph idx="1"/>
          </p:nvPr>
        </p:nvSpPr>
        <p:spPr/>
        <p:txBody>
          <a:bodyPr>
            <a:normAutofit fontScale="92500" lnSpcReduction="20000"/>
          </a:bodyPr>
          <a:lstStyle/>
          <a:p>
            <a:pPr lvl="0"/>
            <a:r>
              <a:rPr lang="en-IN" b="1" dirty="0"/>
              <a:t>declarations</a:t>
            </a:r>
            <a:r>
              <a:rPr lang="en-IN" dirty="0"/>
              <a:t> − In declarations, the reference to the components is stored. The </a:t>
            </a:r>
            <a:r>
              <a:rPr lang="en-IN" dirty="0" err="1"/>
              <a:t>Appcomponent</a:t>
            </a:r>
            <a:r>
              <a:rPr lang="en-IN" dirty="0"/>
              <a:t> is the default component that is created whenever a new project is initiated. We will learn about creating new components in a different section.</a:t>
            </a:r>
            <a:endParaRPr lang="en-US" dirty="0"/>
          </a:p>
          <a:p>
            <a:pPr lvl="0"/>
            <a:r>
              <a:rPr lang="en-IN" b="1" dirty="0"/>
              <a:t>imports</a:t>
            </a:r>
            <a:r>
              <a:rPr lang="en-IN" dirty="0"/>
              <a:t> − This will have the modules imported as shown above. At present, </a:t>
            </a:r>
            <a:r>
              <a:rPr lang="en-IN" dirty="0" err="1"/>
              <a:t>BrowserModule</a:t>
            </a:r>
            <a:r>
              <a:rPr lang="en-IN" dirty="0"/>
              <a:t> is part of the imports which is imported from @angular/platform-browser.</a:t>
            </a:r>
            <a:endParaRPr lang="en-US" dirty="0"/>
          </a:p>
          <a:p>
            <a:pPr lvl="0"/>
            <a:r>
              <a:rPr lang="en-IN" b="1" dirty="0"/>
              <a:t>providers</a:t>
            </a:r>
            <a:r>
              <a:rPr lang="en-IN" dirty="0"/>
              <a:t> − This will have reference to the services created. The service will be discussed in a subsequent chapter.</a:t>
            </a:r>
            <a:endParaRPr lang="en-US" dirty="0"/>
          </a:p>
          <a:p>
            <a:r>
              <a:rPr lang="en-IN" b="1" dirty="0"/>
              <a:t>bootstrap</a:t>
            </a:r>
            <a:r>
              <a:rPr lang="en-IN" dirty="0"/>
              <a:t> − This has reference to the default component created, i.e., </a:t>
            </a:r>
            <a:r>
              <a:rPr lang="en-IN" dirty="0" err="1"/>
              <a:t>AppComponent</a:t>
            </a:r>
            <a:r>
              <a:rPr lang="en-IN" dirty="0"/>
              <a:t>.</a:t>
            </a:r>
            <a:endParaRPr lang="en-US" dirty="0"/>
          </a:p>
        </p:txBody>
      </p:sp>
    </p:spTree>
    <p:extLst>
      <p:ext uri="{BB962C8B-B14F-4D97-AF65-F5344CB8AC3E}">
        <p14:creationId xmlns:p14="http://schemas.microsoft.com/office/powerpoint/2010/main" val="5018656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fontScale="92500"/>
          </a:bodyPr>
          <a:lstStyle/>
          <a:p>
            <a:pPr lvl="0"/>
            <a:r>
              <a:rPr lang="en-IN" dirty="0"/>
              <a:t> </a:t>
            </a:r>
            <a:r>
              <a:rPr lang="en-IN" b="1" dirty="0"/>
              <a:t>app.component.css</a:t>
            </a:r>
            <a:r>
              <a:rPr lang="en-IN" dirty="0"/>
              <a:t> − You can write your </a:t>
            </a:r>
            <a:r>
              <a:rPr lang="en-IN" dirty="0" err="1"/>
              <a:t>css</a:t>
            </a:r>
            <a:r>
              <a:rPr lang="en-IN" dirty="0"/>
              <a:t> structure over here. Right now, we have added the background </a:t>
            </a:r>
            <a:r>
              <a:rPr lang="en-IN" dirty="0" err="1"/>
              <a:t>color</a:t>
            </a:r>
            <a:r>
              <a:rPr lang="en-IN" dirty="0"/>
              <a:t> to the div as shown below.</a:t>
            </a:r>
            <a:endParaRPr lang="en-US" dirty="0"/>
          </a:p>
          <a:p>
            <a:pPr lvl="0"/>
            <a:r>
              <a:rPr lang="en-IN" b="1" dirty="0"/>
              <a:t>app.component.html</a:t>
            </a:r>
            <a:r>
              <a:rPr lang="en-IN" dirty="0"/>
              <a:t> − The html code will be available in this file.</a:t>
            </a:r>
            <a:endParaRPr lang="en-US" dirty="0"/>
          </a:p>
          <a:p>
            <a:pPr lvl="0"/>
            <a:r>
              <a:rPr lang="en-IN" b="1" dirty="0" err="1"/>
              <a:t>app.component.spec.ts</a:t>
            </a:r>
            <a:r>
              <a:rPr lang="en-IN" dirty="0"/>
              <a:t> − These are automatically generated files which contain unit tests for source component.</a:t>
            </a:r>
            <a:endParaRPr lang="en-US" dirty="0"/>
          </a:p>
          <a:p>
            <a:pPr lvl="0"/>
            <a:r>
              <a:rPr lang="en-IN" b="1" dirty="0" err="1"/>
              <a:t>app.component.ts</a:t>
            </a:r>
            <a:r>
              <a:rPr lang="en-IN" dirty="0"/>
              <a:t> − The class for the component is defined over here. You can do the processing of the html structure in the .</a:t>
            </a:r>
            <a:r>
              <a:rPr lang="en-IN" dirty="0" err="1"/>
              <a:t>ts</a:t>
            </a:r>
            <a:r>
              <a:rPr lang="en-IN" dirty="0"/>
              <a:t> file. The processing will include activities such as connecting to the database, interacting with other components, routing, services, etc.</a:t>
            </a:r>
            <a:endParaRPr lang="en-US" dirty="0"/>
          </a:p>
          <a:p>
            <a:endParaRPr lang="en-US" dirty="0"/>
          </a:p>
        </p:txBody>
      </p:sp>
    </p:spTree>
    <p:extLst>
      <p:ext uri="{BB962C8B-B14F-4D97-AF65-F5344CB8AC3E}">
        <p14:creationId xmlns:p14="http://schemas.microsoft.com/office/powerpoint/2010/main" val="80980646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ow Angular Works</a:t>
            </a:r>
            <a:endParaRPr lang="en-US"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9754935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Angular Works</a:t>
            </a:r>
          </a:p>
        </p:txBody>
      </p:sp>
      <p:sp>
        <p:nvSpPr>
          <p:cNvPr id="3" name="Content Placeholder 2"/>
          <p:cNvSpPr>
            <a:spLocks noGrp="1"/>
          </p:cNvSpPr>
          <p:nvPr>
            <p:ph idx="1"/>
          </p:nvPr>
        </p:nvSpPr>
        <p:spPr/>
        <p:txBody>
          <a:bodyPr/>
          <a:lstStyle/>
          <a:p>
            <a:r>
              <a:rPr lang="en-IN" dirty="0"/>
              <a:t>The first big idea is that an Angular application is made up of Components.</a:t>
            </a:r>
          </a:p>
          <a:p>
            <a:r>
              <a:rPr lang="en-IN" dirty="0"/>
              <a:t>One way to think of Components is a way to teach the browser new tags. </a:t>
            </a:r>
          </a:p>
          <a:p>
            <a:r>
              <a:rPr lang="en-IN" dirty="0"/>
              <a:t>If you have an Angular 1 background, Components are analogous to directives in </a:t>
            </a:r>
            <a:r>
              <a:rPr lang="en-IN" dirty="0" err="1"/>
              <a:t>AngularJS</a:t>
            </a:r>
            <a:r>
              <a:rPr lang="en-IN" dirty="0"/>
              <a:t> 1.x</a:t>
            </a:r>
            <a:endParaRPr lang="en-US" dirty="0"/>
          </a:p>
          <a:p>
            <a:endParaRPr lang="en-US" dirty="0"/>
          </a:p>
        </p:txBody>
      </p:sp>
    </p:spTree>
    <p:extLst>
      <p:ext uri="{BB962C8B-B14F-4D97-AF65-F5344CB8AC3E}">
        <p14:creationId xmlns:p14="http://schemas.microsoft.com/office/powerpoint/2010/main" val="13865597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 to Angular Framework</a:t>
            </a:r>
          </a:p>
        </p:txBody>
      </p:sp>
      <p:sp>
        <p:nvSpPr>
          <p:cNvPr id="3" name="Content Placeholder 2"/>
          <p:cNvSpPr>
            <a:spLocks noGrp="1"/>
          </p:cNvSpPr>
          <p:nvPr>
            <p:ph sz="half" idx="1"/>
          </p:nvPr>
        </p:nvSpPr>
        <p:spPr/>
        <p:txBody>
          <a:bodyPr>
            <a:normAutofit fontScale="92500" lnSpcReduction="10000"/>
          </a:bodyPr>
          <a:lstStyle/>
          <a:p>
            <a:pPr lvl="0"/>
            <a:r>
              <a:rPr lang="en-IN"/>
              <a:t>Introduction to Angular Framework, History &amp; Overview</a:t>
            </a:r>
          </a:p>
          <a:p>
            <a:pPr lvl="0"/>
            <a:r>
              <a:rPr lang="en-IN"/>
              <a:t>Environment Setup</a:t>
            </a:r>
          </a:p>
          <a:p>
            <a:pPr lvl="0"/>
            <a:r>
              <a:rPr lang="en-IN"/>
              <a:t>Angular CLI, Installing Angular CLI</a:t>
            </a:r>
          </a:p>
          <a:p>
            <a:pPr lvl="0"/>
            <a:r>
              <a:rPr lang="en-IN"/>
              <a:t>NPM commands &amp; package.json</a:t>
            </a:r>
          </a:p>
          <a:p>
            <a:pPr lvl="0"/>
            <a:r>
              <a:rPr lang="en-IN"/>
              <a:t>Bootstrapping Angular App, Components, AppModule</a:t>
            </a:r>
            <a:endParaRPr lang="en-US" dirty="0"/>
          </a:p>
        </p:txBody>
      </p:sp>
      <p:sp>
        <p:nvSpPr>
          <p:cNvPr id="4" name="Content Placeholder 3"/>
          <p:cNvSpPr>
            <a:spLocks noGrp="1"/>
          </p:cNvSpPr>
          <p:nvPr>
            <p:ph sz="half" idx="2"/>
          </p:nvPr>
        </p:nvSpPr>
        <p:spPr/>
        <p:txBody>
          <a:bodyPr>
            <a:normAutofit fontScale="92500" lnSpcReduction="10000"/>
          </a:bodyPr>
          <a:lstStyle/>
          <a:p>
            <a:pPr lvl="0"/>
            <a:r>
              <a:rPr lang="en-IN"/>
              <a:t>Project Setup, Editor Environments </a:t>
            </a:r>
          </a:p>
          <a:p>
            <a:pPr lvl="0"/>
            <a:r>
              <a:rPr lang="en-IN"/>
              <a:t>First Angular App &amp; Directory Structure</a:t>
            </a:r>
            <a:endParaRPr lang="en-US"/>
          </a:p>
          <a:p>
            <a:pPr lvl="0"/>
            <a:r>
              <a:rPr lang="en-IN"/>
              <a:t>Angular Fundamentals, Building Blocks</a:t>
            </a:r>
          </a:p>
          <a:p>
            <a:pPr lvl="0"/>
            <a:r>
              <a:rPr lang="en-IN"/>
              <a:t>MetaData</a:t>
            </a:r>
            <a:endParaRPr lang="en-US" dirty="0"/>
          </a:p>
        </p:txBody>
      </p:sp>
    </p:spTree>
    <p:extLst>
      <p:ext uri="{BB962C8B-B14F-4D97-AF65-F5344CB8AC3E}">
        <p14:creationId xmlns:p14="http://schemas.microsoft.com/office/powerpoint/2010/main" val="242836976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Angular Works</a:t>
            </a:r>
          </a:p>
        </p:txBody>
      </p:sp>
      <p:sp>
        <p:nvSpPr>
          <p:cNvPr id="3" name="Content Placeholder 2"/>
          <p:cNvSpPr>
            <a:spLocks noGrp="1"/>
          </p:cNvSpPr>
          <p:nvPr>
            <p:ph idx="1"/>
          </p:nvPr>
        </p:nvSpPr>
        <p:spPr>
          <a:xfrm>
            <a:off x="1371600" y="1740877"/>
            <a:ext cx="9601200" cy="4608165"/>
          </a:xfrm>
        </p:spPr>
        <p:txBody>
          <a:bodyPr>
            <a:normAutofit fontScale="92500" lnSpcReduction="20000"/>
          </a:bodyPr>
          <a:lstStyle/>
          <a:p>
            <a:r>
              <a:rPr lang="en-IN" dirty="0"/>
              <a:t>Every app has a main entry point. This application was built using Angular CLI (which is built on a tool called </a:t>
            </a:r>
            <a:r>
              <a:rPr lang="en-IN" dirty="0" err="1"/>
              <a:t>Webpack</a:t>
            </a:r>
            <a:r>
              <a:rPr lang="en-IN" dirty="0"/>
              <a:t>). We run this app by calling the command:</a:t>
            </a:r>
            <a:endParaRPr lang="en-US" dirty="0"/>
          </a:p>
          <a:p>
            <a:r>
              <a:rPr lang="en-IN" dirty="0"/>
              <a:t>&gt; ng serve</a:t>
            </a:r>
          </a:p>
          <a:p>
            <a:pPr lvl="1">
              <a:lnSpc>
                <a:spcPct val="150000"/>
              </a:lnSpc>
            </a:pPr>
            <a:r>
              <a:rPr lang="en-IN" sz="1700" dirty="0"/>
              <a:t>ng will look at the file .angular-</a:t>
            </a:r>
            <a:r>
              <a:rPr lang="en-IN" sz="1700" dirty="0" err="1"/>
              <a:t>cli.json</a:t>
            </a:r>
            <a:r>
              <a:rPr lang="en-IN" sz="1700" dirty="0"/>
              <a:t> to find the entry point to our app</a:t>
            </a:r>
            <a:endParaRPr lang="en-US" sz="1700" dirty="0"/>
          </a:p>
          <a:p>
            <a:pPr lvl="1">
              <a:lnSpc>
                <a:spcPct val="150000"/>
              </a:lnSpc>
            </a:pPr>
            <a:r>
              <a:rPr lang="en-IN" sz="1700" dirty="0"/>
              <a:t>.angular-</a:t>
            </a:r>
            <a:r>
              <a:rPr lang="en-IN" sz="1700" dirty="0" err="1"/>
              <a:t>cli.json</a:t>
            </a:r>
            <a:r>
              <a:rPr lang="en-IN" sz="1700" dirty="0"/>
              <a:t> specifies a "main" file, which in this case is </a:t>
            </a:r>
            <a:r>
              <a:rPr lang="en-IN" sz="1700" dirty="0" err="1"/>
              <a:t>main.ts</a:t>
            </a:r>
            <a:endParaRPr lang="en-US" sz="1700" dirty="0"/>
          </a:p>
          <a:p>
            <a:pPr lvl="1">
              <a:lnSpc>
                <a:spcPct val="150000"/>
              </a:lnSpc>
            </a:pPr>
            <a:r>
              <a:rPr lang="en-IN" sz="1700" dirty="0" err="1"/>
              <a:t>main.ts</a:t>
            </a:r>
            <a:r>
              <a:rPr lang="en-IN" sz="1700" dirty="0"/>
              <a:t> is the entry-point for our app and it bootstraps</a:t>
            </a:r>
            <a:r>
              <a:rPr lang="en-IN" sz="1700" i="1" dirty="0"/>
              <a:t> </a:t>
            </a:r>
            <a:r>
              <a:rPr lang="en-IN" sz="1700" dirty="0"/>
              <a:t>our application</a:t>
            </a:r>
            <a:endParaRPr lang="en-US" sz="1700" dirty="0"/>
          </a:p>
          <a:p>
            <a:pPr lvl="1">
              <a:lnSpc>
                <a:spcPct val="150000"/>
              </a:lnSpc>
            </a:pPr>
            <a:r>
              <a:rPr lang="en-IN" sz="1700" dirty="0"/>
              <a:t>The bootstrap process boots an Angular module</a:t>
            </a:r>
            <a:r>
              <a:rPr lang="en-IN" sz="1700" b="1" dirty="0"/>
              <a:t> </a:t>
            </a:r>
            <a:r>
              <a:rPr lang="en-IN" sz="1700" dirty="0"/>
              <a:t>(“</a:t>
            </a:r>
            <a:r>
              <a:rPr lang="en-IN" sz="1700" dirty="0" err="1"/>
              <a:t>AppModule</a:t>
            </a:r>
            <a:r>
              <a:rPr lang="en-IN" sz="1700" dirty="0"/>
              <a:t>”)</a:t>
            </a:r>
            <a:endParaRPr lang="en-US" sz="1700" dirty="0"/>
          </a:p>
          <a:p>
            <a:pPr lvl="1">
              <a:lnSpc>
                <a:spcPct val="150000"/>
              </a:lnSpc>
            </a:pPr>
            <a:r>
              <a:rPr lang="en-IN" sz="1700" dirty="0"/>
              <a:t>We use the </a:t>
            </a:r>
            <a:r>
              <a:rPr lang="en-IN" sz="1700" dirty="0" err="1"/>
              <a:t>AppModule</a:t>
            </a:r>
            <a:r>
              <a:rPr lang="en-IN" sz="1700" dirty="0"/>
              <a:t> to bootstrap the app. </a:t>
            </a:r>
            <a:r>
              <a:rPr lang="en-IN" sz="1700" dirty="0" err="1"/>
              <a:t>AppModule</a:t>
            </a:r>
            <a:r>
              <a:rPr lang="en-IN" sz="1700" dirty="0"/>
              <a:t> is specified in </a:t>
            </a:r>
            <a:r>
              <a:rPr lang="en-IN" sz="1700" dirty="0" err="1"/>
              <a:t>src</a:t>
            </a:r>
            <a:r>
              <a:rPr lang="en-IN" sz="1700" dirty="0"/>
              <a:t>/app/</a:t>
            </a:r>
            <a:r>
              <a:rPr lang="en-IN" sz="1700" dirty="0" err="1"/>
              <a:t>app.module.ts</a:t>
            </a:r>
            <a:endParaRPr lang="en-US" sz="1700" dirty="0"/>
          </a:p>
          <a:p>
            <a:pPr lvl="1">
              <a:lnSpc>
                <a:spcPct val="150000"/>
              </a:lnSpc>
            </a:pPr>
            <a:r>
              <a:rPr lang="en-IN" sz="1700" dirty="0" err="1"/>
              <a:t>AppModule</a:t>
            </a:r>
            <a:r>
              <a:rPr lang="en-IN" sz="1700" dirty="0"/>
              <a:t> specifies which component</a:t>
            </a:r>
            <a:r>
              <a:rPr lang="en-IN" sz="1700" i="1" dirty="0"/>
              <a:t> </a:t>
            </a:r>
            <a:r>
              <a:rPr lang="en-IN" sz="1700" dirty="0"/>
              <a:t>to use as the top-level component. In this case it is </a:t>
            </a:r>
            <a:r>
              <a:rPr lang="en-IN" sz="1700" dirty="0" err="1"/>
              <a:t>AppComponent</a:t>
            </a:r>
            <a:endParaRPr lang="en-US" sz="1700" dirty="0"/>
          </a:p>
          <a:p>
            <a:pPr lvl="1">
              <a:lnSpc>
                <a:spcPct val="150000"/>
              </a:lnSpc>
            </a:pPr>
            <a:r>
              <a:rPr lang="en-IN" sz="1700" dirty="0" err="1"/>
              <a:t>AppComponent</a:t>
            </a:r>
            <a:r>
              <a:rPr lang="en-IN" sz="1700" dirty="0"/>
              <a:t> has &lt;app-root&gt; tags in the template and this renders output</a:t>
            </a:r>
            <a:endParaRPr lang="en-US" sz="1700" dirty="0"/>
          </a:p>
          <a:p>
            <a:endParaRPr lang="en-US" dirty="0"/>
          </a:p>
        </p:txBody>
      </p:sp>
    </p:spTree>
    <p:extLst>
      <p:ext uri="{BB962C8B-B14F-4D97-AF65-F5344CB8AC3E}">
        <p14:creationId xmlns:p14="http://schemas.microsoft.com/office/powerpoint/2010/main" val="29059073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descr="Screen Clipping"/>
          <p:cNvPicPr/>
          <p:nvPr/>
        </p:nvPicPr>
        <p:blipFill>
          <a:blip r:embed="rId2">
            <a:extLst>
              <a:ext uri="{28A0092B-C50C-407E-A947-70E740481C1C}">
                <a14:useLocalDpi xmlns:a14="http://schemas.microsoft.com/office/drawing/2010/main" val="0"/>
              </a:ext>
            </a:extLst>
          </a:blip>
          <a:stretch>
            <a:fillRect/>
          </a:stretch>
        </p:blipFill>
        <p:spPr>
          <a:xfrm>
            <a:off x="1302589" y="685800"/>
            <a:ext cx="10222302" cy="5848709"/>
          </a:xfrm>
          <a:prstGeom prst="rect">
            <a:avLst/>
          </a:prstGeom>
        </p:spPr>
      </p:pic>
      <p:grpSp>
        <p:nvGrpSpPr>
          <p:cNvPr id="5" name="Group 4"/>
          <p:cNvGrpSpPr/>
          <p:nvPr/>
        </p:nvGrpSpPr>
        <p:grpSpPr>
          <a:xfrm>
            <a:off x="2191108" y="2147977"/>
            <a:ext cx="7125419" cy="2139351"/>
            <a:chOff x="0" y="0"/>
            <a:chExt cx="4779086" cy="1347716"/>
          </a:xfrm>
        </p:grpSpPr>
        <p:sp>
          <p:nvSpPr>
            <p:cNvPr id="6" name="Rectangle 5"/>
            <p:cNvSpPr/>
            <p:nvPr/>
          </p:nvSpPr>
          <p:spPr>
            <a:xfrm>
              <a:off x="4083050" y="1143000"/>
              <a:ext cx="696036" cy="2047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7" name="Rectangle 6"/>
            <p:cNvSpPr/>
            <p:nvPr/>
          </p:nvSpPr>
          <p:spPr>
            <a:xfrm>
              <a:off x="1968500" y="0"/>
              <a:ext cx="696036" cy="2047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Rectangle 7"/>
            <p:cNvSpPr/>
            <p:nvPr/>
          </p:nvSpPr>
          <p:spPr>
            <a:xfrm>
              <a:off x="0" y="1098550"/>
              <a:ext cx="696036" cy="2047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cxnSp>
          <p:nvCxnSpPr>
            <p:cNvPr id="9" name="Straight Connector 8"/>
            <p:cNvCxnSpPr/>
            <p:nvPr/>
          </p:nvCxnSpPr>
          <p:spPr>
            <a:xfrm flipH="1" flipV="1">
              <a:off x="2673350" y="209550"/>
              <a:ext cx="1419367" cy="948519"/>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704850" y="190500"/>
              <a:ext cx="1276066" cy="907539"/>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826134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Angular Framework</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6701714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ular Framework…</a:t>
            </a:r>
          </a:p>
        </p:txBody>
      </p:sp>
      <p:sp>
        <p:nvSpPr>
          <p:cNvPr id="5" name="Content Placeholder 4"/>
          <p:cNvSpPr>
            <a:spLocks noGrp="1"/>
          </p:cNvSpPr>
          <p:nvPr>
            <p:ph idx="1"/>
          </p:nvPr>
        </p:nvSpPr>
        <p:spPr/>
        <p:txBody>
          <a:bodyPr>
            <a:normAutofit/>
          </a:bodyPr>
          <a:lstStyle/>
          <a:p>
            <a:r>
              <a:rPr lang="en-US" sz="2800" dirty="0"/>
              <a:t>Angular is an open source JavaScript library that is sponsored and maintained by Google.</a:t>
            </a:r>
          </a:p>
          <a:p>
            <a:r>
              <a:rPr lang="en-US" sz="2800" dirty="0"/>
              <a:t>Angular applications are built around a design pattern called </a:t>
            </a:r>
            <a:r>
              <a:rPr lang="en-US" sz="2800" i="1" dirty="0"/>
              <a:t>Model-View-Controller </a:t>
            </a:r>
            <a:r>
              <a:rPr lang="en-US" sz="2800" dirty="0"/>
              <a:t>(MVC)</a:t>
            </a:r>
          </a:p>
        </p:txBody>
      </p:sp>
    </p:spTree>
    <p:extLst>
      <p:ext uri="{BB962C8B-B14F-4D97-AF65-F5344CB8AC3E}">
        <p14:creationId xmlns:p14="http://schemas.microsoft.com/office/powerpoint/2010/main" val="30819027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gular Framework…</a:t>
            </a:r>
          </a:p>
        </p:txBody>
      </p:sp>
      <p:sp>
        <p:nvSpPr>
          <p:cNvPr id="5" name="Content Placeholder 4"/>
          <p:cNvSpPr>
            <a:spLocks noGrp="1"/>
          </p:cNvSpPr>
          <p:nvPr>
            <p:ph idx="1"/>
          </p:nvPr>
        </p:nvSpPr>
        <p:spPr/>
        <p:txBody>
          <a:bodyPr>
            <a:normAutofit fontScale="85000" lnSpcReduction="20000"/>
          </a:bodyPr>
          <a:lstStyle/>
          <a:p>
            <a:r>
              <a:rPr lang="en-US" b="1" i="1" dirty="0"/>
              <a:t>Extendable</a:t>
            </a:r>
            <a:r>
              <a:rPr lang="en-US" i="1" dirty="0"/>
              <a:t>: </a:t>
            </a:r>
            <a:r>
              <a:rPr lang="en-US" dirty="0"/>
              <a:t>It is easy to figure out how even a complex Angular app works once you understand the basics—and that means you can easily enhance applications to create new and useful features for your users.</a:t>
            </a:r>
          </a:p>
          <a:p>
            <a:r>
              <a:rPr lang="en-US" b="1" i="1" dirty="0"/>
              <a:t>Maintainable</a:t>
            </a:r>
            <a:r>
              <a:rPr lang="en-US" dirty="0"/>
              <a:t>: Angular apps are easy to debug and fix, which means that long-term maintenance is simplified.</a:t>
            </a:r>
          </a:p>
          <a:p>
            <a:r>
              <a:rPr lang="en-US" b="1" i="1" dirty="0"/>
              <a:t>Testable</a:t>
            </a:r>
            <a:r>
              <a:rPr lang="en-US" i="1" dirty="0"/>
              <a:t>: </a:t>
            </a:r>
            <a:r>
              <a:rPr lang="en-US" dirty="0"/>
              <a:t>Angular has good support for unit and end-to-end testing, meaning that you can find and fix defects before your users do.</a:t>
            </a:r>
          </a:p>
          <a:p>
            <a:r>
              <a:rPr lang="en-US" b="1" i="1" dirty="0"/>
              <a:t>Standardized</a:t>
            </a:r>
            <a:r>
              <a:rPr lang="en-US" i="1" dirty="0"/>
              <a:t>: </a:t>
            </a:r>
            <a:r>
              <a:rPr lang="en-US" dirty="0"/>
              <a:t>Angular builds on the innate capabilities of the web browser without getting in your way, allowing you to create standards compliant web apps that take advantage of the latest features (such as HTML5 APIs) and popular tools and frameworks.</a:t>
            </a:r>
          </a:p>
        </p:txBody>
      </p:sp>
    </p:spTree>
    <p:extLst>
      <p:ext uri="{BB962C8B-B14F-4D97-AF65-F5344CB8AC3E}">
        <p14:creationId xmlns:p14="http://schemas.microsoft.com/office/powerpoint/2010/main" val="285026931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7F6D5-423D-4493-9AC1-69912CF98665}"/>
              </a:ext>
            </a:extLst>
          </p:cNvPr>
          <p:cNvSpPr>
            <a:spLocks noGrp="1"/>
          </p:cNvSpPr>
          <p:nvPr>
            <p:ph type="title"/>
          </p:nvPr>
        </p:nvSpPr>
        <p:spPr/>
        <p:txBody>
          <a:bodyPr/>
          <a:lstStyle/>
          <a:p>
            <a:r>
              <a:rPr lang="en-IN" dirty="0"/>
              <a:t>Angular-History</a:t>
            </a:r>
          </a:p>
        </p:txBody>
      </p:sp>
      <p:sp>
        <p:nvSpPr>
          <p:cNvPr id="3" name="Content Placeholder 2">
            <a:extLst>
              <a:ext uri="{FF2B5EF4-FFF2-40B4-BE49-F238E27FC236}">
                <a16:creationId xmlns:a16="http://schemas.microsoft.com/office/drawing/2014/main" id="{C10B580D-794B-4B66-B009-9DBD8D331E8F}"/>
              </a:ext>
            </a:extLst>
          </p:cNvPr>
          <p:cNvSpPr>
            <a:spLocks noGrp="1"/>
          </p:cNvSpPr>
          <p:nvPr>
            <p:ph idx="1"/>
          </p:nvPr>
        </p:nvSpPr>
        <p:spPr/>
        <p:txBody>
          <a:bodyPr/>
          <a:lstStyle/>
          <a:p>
            <a:r>
              <a:rPr lang="en-IN" dirty="0"/>
              <a:t>Angular was created in the year 2009 as AngularJS	</a:t>
            </a:r>
          </a:p>
        </p:txBody>
      </p:sp>
      <p:pic>
        <p:nvPicPr>
          <p:cNvPr id="5122" name="Picture 2" descr="Image result for google logo png">
            <a:extLst>
              <a:ext uri="{FF2B5EF4-FFF2-40B4-BE49-F238E27FC236}">
                <a16:creationId xmlns:a16="http://schemas.microsoft.com/office/drawing/2014/main" id="{DB8459A0-05BC-42E2-8007-6767C5F95C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3914" y="2905773"/>
            <a:ext cx="3722446" cy="125826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result for png community">
            <a:extLst>
              <a:ext uri="{FF2B5EF4-FFF2-40B4-BE49-F238E27FC236}">
                <a16:creationId xmlns:a16="http://schemas.microsoft.com/office/drawing/2014/main" id="{C37B7EA9-B2DA-424C-BB3C-B1818B2362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9809" y="2307806"/>
            <a:ext cx="2348279" cy="2242388"/>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ABCCFFE5-EBBF-4729-B2D1-9F787F1F20C6}"/>
              </a:ext>
            </a:extLst>
          </p:cNvPr>
          <p:cNvSpPr txBox="1">
            <a:spLocks/>
          </p:cNvSpPr>
          <p:nvPr/>
        </p:nvSpPr>
        <p:spPr>
          <a:xfrm>
            <a:off x="2103735" y="4550194"/>
            <a:ext cx="3740426" cy="963102"/>
          </a:xfrm>
          <a:prstGeom prst="rect">
            <a:avLst/>
          </a:prstGeom>
        </p:spPr>
        <p:txBody>
          <a:bodyPr vert="horz" lIns="91440" tIns="45720" rIns="91440" bIns="45720" rtlCol="0">
            <a:normAutofit/>
          </a:bodyPr>
          <a:lst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a:lstStyle>
          <a:p>
            <a:pPr marL="0" indent="0" algn="ctr">
              <a:lnSpc>
                <a:spcPct val="100000"/>
              </a:lnSpc>
              <a:buNone/>
            </a:pPr>
            <a:r>
              <a:rPr lang="en-IN" dirty="0"/>
              <a:t>It is </a:t>
            </a:r>
            <a:r>
              <a:rPr lang="en-IN" b="1" dirty="0"/>
              <a:t>large</a:t>
            </a:r>
            <a:r>
              <a:rPr lang="en-IN" dirty="0"/>
              <a:t> and </a:t>
            </a:r>
            <a:r>
              <a:rPr lang="en-IN" b="1" dirty="0"/>
              <a:t>fastest-growing</a:t>
            </a:r>
            <a:r>
              <a:rPr lang="en-IN" dirty="0"/>
              <a:t> </a:t>
            </a:r>
          </a:p>
          <a:p>
            <a:pPr marL="0" indent="0" algn="ctr">
              <a:lnSpc>
                <a:spcPct val="100000"/>
              </a:lnSpc>
              <a:buNone/>
            </a:pPr>
            <a:r>
              <a:rPr lang="en-IN" dirty="0"/>
              <a:t>community</a:t>
            </a:r>
          </a:p>
        </p:txBody>
      </p:sp>
      <p:sp>
        <p:nvSpPr>
          <p:cNvPr id="7" name="Content Placeholder 2">
            <a:extLst>
              <a:ext uri="{FF2B5EF4-FFF2-40B4-BE49-F238E27FC236}">
                <a16:creationId xmlns:a16="http://schemas.microsoft.com/office/drawing/2014/main" id="{B677C89C-3B27-42DA-B766-79AD3F72E865}"/>
              </a:ext>
            </a:extLst>
          </p:cNvPr>
          <p:cNvSpPr txBox="1">
            <a:spLocks/>
          </p:cNvSpPr>
          <p:nvPr/>
        </p:nvSpPr>
        <p:spPr>
          <a:xfrm>
            <a:off x="7127027" y="4550194"/>
            <a:ext cx="3740426" cy="963102"/>
          </a:xfrm>
          <a:prstGeom prst="rect">
            <a:avLst/>
          </a:prstGeom>
        </p:spPr>
        <p:txBody>
          <a:bodyPr vert="horz" lIns="91440" tIns="45720" rIns="91440" bIns="45720" rtlCol="0">
            <a:normAutofit/>
          </a:bodyPr>
          <a:lst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a:lstStyle>
          <a:p>
            <a:pPr marL="0" indent="0" algn="ctr">
              <a:lnSpc>
                <a:spcPct val="100000"/>
              </a:lnSpc>
              <a:buNone/>
            </a:pPr>
            <a:r>
              <a:rPr lang="en-IN" dirty="0"/>
              <a:t>It is </a:t>
            </a:r>
            <a:r>
              <a:rPr lang="en-IN" b="1" dirty="0"/>
              <a:t>open source</a:t>
            </a:r>
            <a:r>
              <a:rPr lang="en-IN" dirty="0"/>
              <a:t> and </a:t>
            </a:r>
            <a:r>
              <a:rPr lang="en-IN" b="1" dirty="0"/>
              <a:t>supported by Google</a:t>
            </a:r>
            <a:endParaRPr lang="en-IN" dirty="0"/>
          </a:p>
        </p:txBody>
      </p:sp>
    </p:spTree>
    <p:extLst>
      <p:ext uri="{BB962C8B-B14F-4D97-AF65-F5344CB8AC3E}">
        <p14:creationId xmlns:p14="http://schemas.microsoft.com/office/powerpoint/2010/main" val="23611138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562D76D0-F9B6-4EC2-BED0-CDE8C6FFEAFB}"/>
              </a:ext>
            </a:extLst>
          </p:cNvPr>
          <p:cNvGraphicFramePr>
            <a:graphicFrameLocks noGrp="1"/>
          </p:cNvGraphicFramePr>
          <p:nvPr>
            <p:ph idx="1"/>
            <p:extLst>
              <p:ext uri="{D42A27DB-BD31-4B8C-83A1-F6EECF244321}">
                <p14:modId xmlns:p14="http://schemas.microsoft.com/office/powerpoint/2010/main" val="3341235088"/>
              </p:ext>
            </p:extLst>
          </p:nvPr>
        </p:nvGraphicFramePr>
        <p:xfrm>
          <a:off x="874643" y="1504122"/>
          <a:ext cx="11317357" cy="41313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peech Bubble: Rectangle with Corners Rounded 5">
            <a:extLst>
              <a:ext uri="{FF2B5EF4-FFF2-40B4-BE49-F238E27FC236}">
                <a16:creationId xmlns:a16="http://schemas.microsoft.com/office/drawing/2014/main" id="{3C33EFA0-BAFF-4C8C-945F-4E24ADBC0E12}"/>
              </a:ext>
            </a:extLst>
          </p:cNvPr>
          <p:cNvSpPr/>
          <p:nvPr/>
        </p:nvSpPr>
        <p:spPr>
          <a:xfrm>
            <a:off x="874643" y="758687"/>
            <a:ext cx="2358887" cy="1573696"/>
          </a:xfrm>
          <a:prstGeom prst="wedgeRoundRectCallout">
            <a:avLst/>
          </a:prstGeom>
          <a:solidFill>
            <a:schemeClr val="accent2">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b="1" dirty="0">
                <a:solidFill>
                  <a:sysClr val="windowText" lastClr="000000"/>
                </a:solidFill>
              </a:rPr>
              <a:t>The first stable version </a:t>
            </a:r>
          </a:p>
          <a:p>
            <a:pPr marL="285750" indent="-285750">
              <a:buFont typeface="Wingdings" panose="05000000000000000000" pitchFamily="2" charset="2"/>
              <a:buChar char="§"/>
            </a:pPr>
            <a:r>
              <a:rPr lang="en-IN" sz="1600" dirty="0">
                <a:solidFill>
                  <a:sysClr val="windowText" lastClr="000000"/>
                </a:solidFill>
              </a:rPr>
              <a:t>Patch Releases</a:t>
            </a:r>
          </a:p>
          <a:p>
            <a:pPr marL="285750" indent="-285750">
              <a:buFont typeface="Wingdings" panose="05000000000000000000" pitchFamily="2" charset="2"/>
              <a:buChar char="§"/>
            </a:pPr>
            <a:r>
              <a:rPr lang="en-IN" sz="1600" dirty="0">
                <a:solidFill>
                  <a:sysClr val="windowText" lastClr="000000"/>
                </a:solidFill>
              </a:rPr>
              <a:t>Bug Fixes</a:t>
            </a:r>
          </a:p>
          <a:p>
            <a:pPr marL="285750" indent="-285750">
              <a:buFont typeface="Wingdings" panose="05000000000000000000" pitchFamily="2" charset="2"/>
              <a:buChar char="§"/>
            </a:pPr>
            <a:r>
              <a:rPr lang="en-IN" sz="1600" dirty="0">
                <a:solidFill>
                  <a:sysClr val="windowText" lastClr="000000"/>
                </a:solidFill>
              </a:rPr>
              <a:t>Small Features</a:t>
            </a:r>
          </a:p>
        </p:txBody>
      </p:sp>
      <p:sp>
        <p:nvSpPr>
          <p:cNvPr id="7" name="Speech Bubble: Rectangle with Corners Rounded 6">
            <a:extLst>
              <a:ext uri="{FF2B5EF4-FFF2-40B4-BE49-F238E27FC236}">
                <a16:creationId xmlns:a16="http://schemas.microsoft.com/office/drawing/2014/main" id="{FFFA8FEE-6E18-40A9-B1B1-3B63856DAEEA}"/>
              </a:ext>
            </a:extLst>
          </p:cNvPr>
          <p:cNvSpPr/>
          <p:nvPr/>
        </p:nvSpPr>
        <p:spPr>
          <a:xfrm>
            <a:off x="2239617" y="4469296"/>
            <a:ext cx="2902226" cy="1573696"/>
          </a:xfrm>
          <a:prstGeom prst="wedgeRoundRectCallout">
            <a:avLst>
              <a:gd name="adj1" fmla="val 1639"/>
              <a:gd name="adj2" fmla="val -61289"/>
              <a:gd name="adj3" fmla="val 16667"/>
            </a:avLst>
          </a:prstGeom>
          <a:solidFill>
            <a:schemeClr val="accent3">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b="1" dirty="0">
                <a:solidFill>
                  <a:sysClr val="windowText" lastClr="000000"/>
                </a:solidFill>
              </a:rPr>
              <a:t>Performance Boost</a:t>
            </a:r>
          </a:p>
          <a:p>
            <a:pPr marL="285750" indent="-285750">
              <a:buFont typeface="Wingdings" panose="05000000000000000000" pitchFamily="2" charset="2"/>
              <a:buChar char="§"/>
            </a:pPr>
            <a:r>
              <a:rPr lang="en-IN" sz="1600" dirty="0">
                <a:solidFill>
                  <a:sysClr val="windowText" lastClr="000000"/>
                </a:solidFill>
              </a:rPr>
              <a:t>30% faster digest times</a:t>
            </a:r>
          </a:p>
          <a:p>
            <a:pPr marL="285750" indent="-285750">
              <a:buFont typeface="Wingdings" panose="05000000000000000000" pitchFamily="2" charset="2"/>
              <a:buChar char="§"/>
            </a:pPr>
            <a:r>
              <a:rPr lang="en-IN" sz="1600" dirty="0">
                <a:solidFill>
                  <a:sysClr val="windowText" lastClr="000000"/>
                </a:solidFill>
              </a:rPr>
              <a:t>New Router</a:t>
            </a:r>
          </a:p>
          <a:p>
            <a:pPr marL="285750" indent="-285750">
              <a:buFont typeface="Wingdings" panose="05000000000000000000" pitchFamily="2" charset="2"/>
              <a:buChar char="§"/>
            </a:pPr>
            <a:r>
              <a:rPr lang="en-IN" sz="1600" dirty="0">
                <a:solidFill>
                  <a:sysClr val="windowText" lastClr="000000"/>
                </a:solidFill>
              </a:rPr>
              <a:t>Internationalization</a:t>
            </a:r>
          </a:p>
          <a:p>
            <a:pPr marL="285750" indent="-285750">
              <a:buFont typeface="Wingdings" panose="05000000000000000000" pitchFamily="2" charset="2"/>
              <a:buChar char="§"/>
            </a:pPr>
            <a:r>
              <a:rPr lang="en-IN" sz="1600" dirty="0">
                <a:solidFill>
                  <a:sysClr val="windowText" lastClr="000000"/>
                </a:solidFill>
              </a:rPr>
              <a:t>Ng-animate, ng-messages</a:t>
            </a:r>
          </a:p>
        </p:txBody>
      </p:sp>
      <p:sp>
        <p:nvSpPr>
          <p:cNvPr id="8" name="Speech Bubble: Rectangle with Corners Rounded 7">
            <a:extLst>
              <a:ext uri="{FF2B5EF4-FFF2-40B4-BE49-F238E27FC236}">
                <a16:creationId xmlns:a16="http://schemas.microsoft.com/office/drawing/2014/main" id="{A4F39266-F45B-44EE-B9E0-0C8BC895B792}"/>
              </a:ext>
            </a:extLst>
          </p:cNvPr>
          <p:cNvSpPr/>
          <p:nvPr/>
        </p:nvSpPr>
        <p:spPr>
          <a:xfrm>
            <a:off x="4333461" y="758687"/>
            <a:ext cx="2902226" cy="1573696"/>
          </a:xfrm>
          <a:prstGeom prst="wedgeRoundRectCallout">
            <a:avLst>
              <a:gd name="adj1" fmla="val -15713"/>
              <a:gd name="adj2" fmla="val 75974"/>
              <a:gd name="adj3" fmla="val 16667"/>
            </a:avLst>
          </a:prstGeom>
          <a:solidFill>
            <a:schemeClr val="accent4">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600" b="1" dirty="0">
                <a:solidFill>
                  <a:sysClr val="windowText" lastClr="000000"/>
                </a:solidFill>
              </a:rPr>
              <a:t>Additional concepts from angular</a:t>
            </a:r>
          </a:p>
          <a:p>
            <a:pPr marL="285750" indent="-285750">
              <a:buFont typeface="Wingdings" panose="05000000000000000000" pitchFamily="2" charset="2"/>
              <a:buChar char="§"/>
            </a:pPr>
            <a:r>
              <a:rPr lang="en-IN" sz="1600" dirty="0">
                <a:solidFill>
                  <a:sysClr val="windowText" lastClr="000000"/>
                </a:solidFill>
              </a:rPr>
              <a:t>Concept of Component based architecture</a:t>
            </a:r>
          </a:p>
        </p:txBody>
      </p:sp>
      <p:sp>
        <p:nvSpPr>
          <p:cNvPr id="9" name="Speech Bubble: Rectangle with Corners Rounded 8">
            <a:extLst>
              <a:ext uri="{FF2B5EF4-FFF2-40B4-BE49-F238E27FC236}">
                <a16:creationId xmlns:a16="http://schemas.microsoft.com/office/drawing/2014/main" id="{2675B9D6-E3EC-4ADE-9205-79490B059218}"/>
              </a:ext>
            </a:extLst>
          </p:cNvPr>
          <p:cNvSpPr/>
          <p:nvPr/>
        </p:nvSpPr>
        <p:spPr>
          <a:xfrm>
            <a:off x="7964555" y="758687"/>
            <a:ext cx="2902226" cy="1573696"/>
          </a:xfrm>
          <a:prstGeom prst="wedgeRoundRectCallout">
            <a:avLst>
              <a:gd name="adj1" fmla="val -22563"/>
              <a:gd name="adj2" fmla="val 73448"/>
              <a:gd name="adj3" fmla="val 16667"/>
            </a:avLst>
          </a:prstGeom>
          <a:solidFill>
            <a:schemeClr val="accent6">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IN" sz="1600" b="1" dirty="0">
                <a:solidFill>
                  <a:sysClr val="windowText" lastClr="000000"/>
                </a:solidFill>
              </a:rPr>
              <a:t>Performance</a:t>
            </a:r>
          </a:p>
          <a:p>
            <a:pPr marL="285750" indent="-285750">
              <a:buFont typeface="Wingdings" panose="05000000000000000000" pitchFamily="2" charset="2"/>
              <a:buChar char="§"/>
            </a:pPr>
            <a:r>
              <a:rPr lang="en-IN" sz="1600" b="1" dirty="0">
                <a:solidFill>
                  <a:sysClr val="windowText" lastClr="000000"/>
                </a:solidFill>
              </a:rPr>
              <a:t>The changing web</a:t>
            </a:r>
          </a:p>
          <a:p>
            <a:pPr marL="285750" indent="-285750">
              <a:buFont typeface="Wingdings" panose="05000000000000000000" pitchFamily="2" charset="2"/>
              <a:buChar char="§"/>
            </a:pPr>
            <a:r>
              <a:rPr lang="en-IN" sz="1600" b="1" dirty="0">
                <a:solidFill>
                  <a:sysClr val="windowText" lastClr="000000"/>
                </a:solidFill>
              </a:rPr>
              <a:t>Mobile</a:t>
            </a:r>
          </a:p>
          <a:p>
            <a:pPr marL="285750" indent="-285750">
              <a:buFont typeface="Wingdings" panose="05000000000000000000" pitchFamily="2" charset="2"/>
              <a:buChar char="§"/>
            </a:pPr>
            <a:r>
              <a:rPr lang="en-IN" sz="1600" b="1" dirty="0">
                <a:solidFill>
                  <a:sysClr val="windowText" lastClr="000000"/>
                </a:solidFill>
              </a:rPr>
              <a:t>Ease to use</a:t>
            </a:r>
            <a:endParaRPr lang="en-IN" sz="1600" dirty="0">
              <a:solidFill>
                <a:sysClr val="windowText" lastClr="000000"/>
              </a:solidFill>
            </a:endParaRPr>
          </a:p>
        </p:txBody>
      </p:sp>
      <p:sp>
        <p:nvSpPr>
          <p:cNvPr id="10" name="Speech Bubble: Rectangle with Corners Rounded 9">
            <a:extLst>
              <a:ext uri="{FF2B5EF4-FFF2-40B4-BE49-F238E27FC236}">
                <a16:creationId xmlns:a16="http://schemas.microsoft.com/office/drawing/2014/main" id="{065503D7-3B0B-4669-97E4-AADAB6AB8C28}"/>
              </a:ext>
            </a:extLst>
          </p:cNvPr>
          <p:cNvSpPr/>
          <p:nvPr/>
        </p:nvSpPr>
        <p:spPr>
          <a:xfrm>
            <a:off x="8501270" y="4465983"/>
            <a:ext cx="2902226" cy="1573696"/>
          </a:xfrm>
          <a:prstGeom prst="wedgeRoundRectCallout">
            <a:avLst>
              <a:gd name="adj1" fmla="val 18076"/>
              <a:gd name="adj2" fmla="val -58762"/>
              <a:gd name="adj3" fmla="val 16667"/>
            </a:avLst>
          </a:prstGeom>
          <a:solidFill>
            <a:schemeClr val="accent2">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IN" sz="1600" b="1" dirty="0">
                <a:solidFill>
                  <a:sysClr val="windowText" lastClr="000000"/>
                </a:solidFill>
              </a:rPr>
              <a:t>Smaller and Faster</a:t>
            </a:r>
          </a:p>
          <a:p>
            <a:pPr marL="285750" indent="-285750">
              <a:buFont typeface="Wingdings" panose="05000000000000000000" pitchFamily="2" charset="2"/>
              <a:buChar char="§"/>
            </a:pPr>
            <a:r>
              <a:rPr lang="en-IN" sz="1600" b="1" dirty="0">
                <a:solidFill>
                  <a:sysClr val="windowText" lastClr="000000"/>
                </a:solidFill>
              </a:rPr>
              <a:t>Animation package</a:t>
            </a:r>
          </a:p>
          <a:p>
            <a:pPr marL="285750" indent="-285750">
              <a:buFont typeface="Wingdings" panose="05000000000000000000" pitchFamily="2" charset="2"/>
              <a:buChar char="§"/>
            </a:pPr>
            <a:r>
              <a:rPr lang="en-IN" sz="1600" b="1" dirty="0">
                <a:solidFill>
                  <a:sysClr val="windowText" lastClr="000000"/>
                </a:solidFill>
              </a:rPr>
              <a:t>Angular Universal</a:t>
            </a:r>
          </a:p>
          <a:p>
            <a:pPr marL="285750" indent="-285750">
              <a:buFont typeface="Wingdings" panose="05000000000000000000" pitchFamily="2" charset="2"/>
              <a:buChar char="§"/>
            </a:pPr>
            <a:r>
              <a:rPr lang="en-IN" sz="1600" b="1" dirty="0">
                <a:solidFill>
                  <a:sysClr val="windowText" lastClr="000000"/>
                </a:solidFill>
              </a:rPr>
              <a:t>Typescript 2.1 and 2.2 compatibility </a:t>
            </a:r>
          </a:p>
          <a:p>
            <a:pPr marL="285750" indent="-285750">
              <a:buFont typeface="Wingdings" panose="05000000000000000000" pitchFamily="2" charset="2"/>
              <a:buChar char="§"/>
            </a:pPr>
            <a:r>
              <a:rPr lang="en-IN" sz="1600" b="1" dirty="0">
                <a:solidFill>
                  <a:sysClr val="windowText" lastClr="000000"/>
                </a:solidFill>
              </a:rPr>
              <a:t>New </a:t>
            </a:r>
            <a:r>
              <a:rPr lang="en-IN" sz="1600" b="1" dirty="0" err="1">
                <a:solidFill>
                  <a:sysClr val="windowText" lastClr="000000"/>
                </a:solidFill>
              </a:rPr>
              <a:t>ParamMap</a:t>
            </a:r>
            <a:r>
              <a:rPr lang="en-IN" sz="1600" b="1" dirty="0">
                <a:solidFill>
                  <a:sysClr val="windowText" lastClr="000000"/>
                </a:solidFill>
              </a:rPr>
              <a:t> interface</a:t>
            </a:r>
          </a:p>
        </p:txBody>
      </p:sp>
      <p:sp>
        <p:nvSpPr>
          <p:cNvPr id="11" name="Speech Bubble: Rectangle with Corners Rounded 10">
            <a:extLst>
              <a:ext uri="{FF2B5EF4-FFF2-40B4-BE49-F238E27FC236}">
                <a16:creationId xmlns:a16="http://schemas.microsoft.com/office/drawing/2014/main" id="{C169AE8F-55F6-4AA6-BEBB-EDB5A57CD1A1}"/>
              </a:ext>
            </a:extLst>
          </p:cNvPr>
          <p:cNvSpPr/>
          <p:nvPr/>
        </p:nvSpPr>
        <p:spPr>
          <a:xfrm>
            <a:off x="5370443" y="4465983"/>
            <a:ext cx="2902226" cy="1573696"/>
          </a:xfrm>
          <a:prstGeom prst="wedgeRoundRectCallout">
            <a:avLst>
              <a:gd name="adj1" fmla="val 14423"/>
              <a:gd name="adj2" fmla="val -59605"/>
              <a:gd name="adj3" fmla="val 16667"/>
            </a:avLst>
          </a:prstGeom>
          <a:solidFill>
            <a:schemeClr val="accent6">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IN" sz="1600" dirty="0">
                <a:solidFill>
                  <a:sysClr val="windowText" lastClr="000000"/>
                </a:solidFill>
              </a:rPr>
              <a:t>Sandbox support removed</a:t>
            </a:r>
          </a:p>
          <a:p>
            <a:pPr marL="285750" indent="-285750">
              <a:buFont typeface="Wingdings" panose="05000000000000000000" pitchFamily="2" charset="2"/>
              <a:buChar char="§"/>
            </a:pPr>
            <a:r>
              <a:rPr lang="en-IN" sz="1600" dirty="0">
                <a:solidFill>
                  <a:sysClr val="windowText" lastClr="000000"/>
                </a:solidFill>
              </a:rPr>
              <a:t>Uses new router</a:t>
            </a:r>
          </a:p>
          <a:p>
            <a:pPr marL="285750" indent="-285750">
              <a:buFont typeface="Wingdings" panose="05000000000000000000" pitchFamily="2" charset="2"/>
              <a:buChar char="§"/>
            </a:pPr>
            <a:r>
              <a:rPr lang="en-IN" sz="1600" dirty="0">
                <a:solidFill>
                  <a:sysClr val="windowText" lastClr="000000"/>
                </a:solidFill>
              </a:rPr>
              <a:t>Uses ES6 Modules</a:t>
            </a:r>
          </a:p>
        </p:txBody>
      </p:sp>
    </p:spTree>
    <p:extLst>
      <p:ext uri="{BB962C8B-B14F-4D97-AF65-F5344CB8AC3E}">
        <p14:creationId xmlns:p14="http://schemas.microsoft.com/office/powerpoint/2010/main" val="3902272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graphicFrame>
        <p:nvGraphicFramePr>
          <p:cNvPr id="4" name="Content Placeholder 3">
            <a:extLst>
              <a:ext uri="{FF2B5EF4-FFF2-40B4-BE49-F238E27FC236}">
                <a16:creationId xmlns:a16="http://schemas.microsoft.com/office/drawing/2014/main" id="{562D76D0-F9B6-4EC2-BED0-CDE8C6FFEAFB}"/>
              </a:ext>
            </a:extLst>
          </p:cNvPr>
          <p:cNvGraphicFramePr>
            <a:graphicFrameLocks noGrp="1"/>
          </p:cNvGraphicFramePr>
          <p:nvPr>
            <p:ph idx="1"/>
            <p:extLst/>
          </p:nvPr>
        </p:nvGraphicFramePr>
        <p:xfrm>
          <a:off x="1371600" y="1741488"/>
          <a:ext cx="9601200" cy="4125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peech Bubble: Rectangle with Corners Rounded 5">
            <a:extLst>
              <a:ext uri="{FF2B5EF4-FFF2-40B4-BE49-F238E27FC236}">
                <a16:creationId xmlns:a16="http://schemas.microsoft.com/office/drawing/2014/main" id="{3C33EFA0-BAFF-4C8C-945F-4E24ADBC0E12}"/>
              </a:ext>
            </a:extLst>
          </p:cNvPr>
          <p:cNvSpPr/>
          <p:nvPr/>
        </p:nvSpPr>
        <p:spPr>
          <a:xfrm>
            <a:off x="874643" y="301486"/>
            <a:ext cx="4016534" cy="2476220"/>
          </a:xfrm>
          <a:prstGeom prst="wedgeRoundRectCallout">
            <a:avLst>
              <a:gd name="adj1" fmla="val -6443"/>
              <a:gd name="adj2" fmla="val 58660"/>
              <a:gd name="adj3" fmla="val 16667"/>
            </a:avLst>
          </a:prstGeom>
          <a:solidFill>
            <a:schemeClr val="accent2">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600" dirty="0">
                <a:solidFill>
                  <a:schemeClr val="tx1"/>
                </a:solidFill>
              </a:rPr>
              <a:t>Simpler Progressive Web Applications</a:t>
            </a:r>
          </a:p>
          <a:p>
            <a:pPr marL="285750" indent="-285750">
              <a:buFont typeface="Wingdings" panose="05000000000000000000" pitchFamily="2" charset="2"/>
              <a:buChar char="§"/>
            </a:pPr>
            <a:r>
              <a:rPr lang="en-US" sz="1600" dirty="0">
                <a:solidFill>
                  <a:schemeClr val="tx1"/>
                </a:solidFill>
              </a:rPr>
              <a:t>Material Design</a:t>
            </a:r>
          </a:p>
          <a:p>
            <a:pPr marL="285750" indent="-285750">
              <a:buFont typeface="Wingdings" panose="05000000000000000000" pitchFamily="2" charset="2"/>
              <a:buChar char="§"/>
            </a:pPr>
            <a:r>
              <a:rPr lang="en-US" sz="1600" dirty="0">
                <a:solidFill>
                  <a:schemeClr val="tx1"/>
                </a:solidFill>
              </a:rPr>
              <a:t>Build optimizer</a:t>
            </a:r>
          </a:p>
          <a:p>
            <a:pPr marL="285750" indent="-285750">
              <a:buFont typeface="Wingdings" panose="05000000000000000000" pitchFamily="2" charset="2"/>
              <a:buChar char="§"/>
            </a:pPr>
            <a:r>
              <a:rPr lang="en-US" sz="1600" dirty="0">
                <a:solidFill>
                  <a:schemeClr val="tx1"/>
                </a:solidFill>
              </a:rPr>
              <a:t>Angular Universal API and DOM</a:t>
            </a:r>
          </a:p>
          <a:p>
            <a:pPr marL="285750" indent="-285750">
              <a:buFont typeface="Wingdings" panose="05000000000000000000" pitchFamily="2" charset="2"/>
              <a:buChar char="§"/>
            </a:pPr>
            <a:r>
              <a:rPr lang="en-US" sz="1600" dirty="0">
                <a:solidFill>
                  <a:schemeClr val="tx1"/>
                </a:solidFill>
              </a:rPr>
              <a:t>Improved Compiler and Typescript</a:t>
            </a:r>
          </a:p>
          <a:p>
            <a:pPr marL="285750" indent="-285750">
              <a:buFont typeface="Wingdings" panose="05000000000000000000" pitchFamily="2" charset="2"/>
              <a:buChar char="§"/>
            </a:pPr>
            <a:r>
              <a:rPr lang="en-US" sz="1600" dirty="0">
                <a:solidFill>
                  <a:schemeClr val="tx1"/>
                </a:solidFill>
              </a:rPr>
              <a:t>CLI v1.5</a:t>
            </a:r>
          </a:p>
          <a:p>
            <a:pPr marL="285750" indent="-285750">
              <a:buFont typeface="Wingdings" panose="05000000000000000000" pitchFamily="2" charset="2"/>
              <a:buChar char="§"/>
            </a:pPr>
            <a:r>
              <a:rPr lang="en-US" sz="1600" dirty="0">
                <a:solidFill>
                  <a:schemeClr val="tx1"/>
                </a:solidFill>
              </a:rPr>
              <a:t>Router Hooks</a:t>
            </a:r>
          </a:p>
          <a:p>
            <a:pPr marL="285750" indent="-285750">
              <a:buFont typeface="Wingdings" panose="05000000000000000000" pitchFamily="2" charset="2"/>
              <a:buChar char="§"/>
            </a:pPr>
            <a:r>
              <a:rPr lang="en-US" sz="1600" dirty="0">
                <a:solidFill>
                  <a:schemeClr val="tx1"/>
                </a:solidFill>
              </a:rPr>
              <a:t>Number, date and currency pipes update</a:t>
            </a:r>
          </a:p>
        </p:txBody>
      </p:sp>
      <p:sp>
        <p:nvSpPr>
          <p:cNvPr id="7" name="Speech Bubble: Rectangle with Corners Rounded 6">
            <a:extLst>
              <a:ext uri="{FF2B5EF4-FFF2-40B4-BE49-F238E27FC236}">
                <a16:creationId xmlns:a16="http://schemas.microsoft.com/office/drawing/2014/main" id="{FFFA8FEE-6E18-40A9-B1B1-3B63856DAEEA}"/>
              </a:ext>
            </a:extLst>
          </p:cNvPr>
          <p:cNvSpPr/>
          <p:nvPr/>
        </p:nvSpPr>
        <p:spPr>
          <a:xfrm>
            <a:off x="3947647" y="4692770"/>
            <a:ext cx="4273327" cy="1751162"/>
          </a:xfrm>
          <a:prstGeom prst="wedgeRoundRectCallout">
            <a:avLst>
              <a:gd name="adj1" fmla="val 1639"/>
              <a:gd name="adj2" fmla="val -61289"/>
              <a:gd name="adj3" fmla="val 16667"/>
            </a:avLst>
          </a:prstGeom>
          <a:solidFill>
            <a:schemeClr val="accent3">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600" b="1" dirty="0">
                <a:solidFill>
                  <a:schemeClr val="tx1"/>
                </a:solidFill>
              </a:rPr>
              <a:t>Improved CLI</a:t>
            </a:r>
          </a:p>
          <a:p>
            <a:pPr marL="285750" indent="-285750">
              <a:buFont typeface="Wingdings" panose="05000000000000000000" pitchFamily="2" charset="2"/>
              <a:buChar char="§"/>
            </a:pPr>
            <a:r>
              <a:rPr lang="en-US" sz="1600" b="1" dirty="0" err="1">
                <a:solidFill>
                  <a:schemeClr val="tx1"/>
                </a:solidFill>
              </a:rPr>
              <a:t>RxJS</a:t>
            </a:r>
            <a:r>
              <a:rPr lang="en-US" sz="1600" b="1" dirty="0">
                <a:solidFill>
                  <a:schemeClr val="tx1"/>
                </a:solidFill>
              </a:rPr>
              <a:t> Revamp</a:t>
            </a:r>
          </a:p>
          <a:p>
            <a:pPr marL="285750" indent="-285750">
              <a:buFont typeface="Wingdings" panose="05000000000000000000" pitchFamily="2" charset="2"/>
              <a:buChar char="§"/>
            </a:pPr>
            <a:r>
              <a:rPr lang="en-US" sz="1600" b="1" dirty="0">
                <a:solidFill>
                  <a:schemeClr val="tx1"/>
                </a:solidFill>
              </a:rPr>
              <a:t>Library Generation Support</a:t>
            </a:r>
          </a:p>
          <a:p>
            <a:pPr marL="285750" indent="-285750">
              <a:buFont typeface="Wingdings" panose="05000000000000000000" pitchFamily="2" charset="2"/>
              <a:buChar char="§"/>
            </a:pPr>
            <a:r>
              <a:rPr lang="en-US" sz="1600" b="1" dirty="0">
                <a:solidFill>
                  <a:schemeClr val="tx1"/>
                </a:solidFill>
              </a:rPr>
              <a:t>Ivy – the cutting-edge rendering pipeline</a:t>
            </a:r>
          </a:p>
          <a:p>
            <a:pPr marL="285750" indent="-285750">
              <a:buFont typeface="Wingdings" panose="05000000000000000000" pitchFamily="2" charset="2"/>
              <a:buChar char="§"/>
            </a:pPr>
            <a:r>
              <a:rPr lang="en-US" sz="1600" b="1" dirty="0">
                <a:solidFill>
                  <a:schemeClr val="tx1"/>
                </a:solidFill>
              </a:rPr>
              <a:t>Angular Elements</a:t>
            </a:r>
          </a:p>
          <a:p>
            <a:endParaRPr lang="en-IN" sz="1600" dirty="0">
              <a:solidFill>
                <a:schemeClr val="tx1"/>
              </a:solidFill>
            </a:endParaRPr>
          </a:p>
        </p:txBody>
      </p:sp>
    </p:spTree>
    <p:extLst>
      <p:ext uri="{BB962C8B-B14F-4D97-AF65-F5344CB8AC3E}">
        <p14:creationId xmlns:p14="http://schemas.microsoft.com/office/powerpoint/2010/main" val="420121185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Props1.xml><?xml version="1.0" encoding="utf-8"?>
<ds:datastoreItem xmlns:ds="http://schemas.openxmlformats.org/officeDocument/2006/customXml" ds:itemID="{09347E44-87E9-4011-8C8F-50AD01B3DBF4}"/>
</file>

<file path=customXml/itemProps2.xml><?xml version="1.0" encoding="utf-8"?>
<ds:datastoreItem xmlns:ds="http://schemas.openxmlformats.org/officeDocument/2006/customXml" ds:itemID="{32A0ACB5-4C42-40BE-AEFC-D4C15E8832C6}"/>
</file>

<file path=customXml/itemProps3.xml><?xml version="1.0" encoding="utf-8"?>
<ds:datastoreItem xmlns:ds="http://schemas.openxmlformats.org/officeDocument/2006/customXml" ds:itemID="{F759B10E-D199-4BD5-8534-A3CAEA079625}"/>
</file>

<file path=docProps/app.xml><?xml version="1.0" encoding="utf-8"?>
<Properties xmlns="http://schemas.openxmlformats.org/officeDocument/2006/extended-properties" xmlns:vt="http://schemas.openxmlformats.org/officeDocument/2006/docPropsVTypes">
  <Template>TM10001105[[fn=Crop]]</Template>
  <TotalTime>2302</TotalTime>
  <Words>1621</Words>
  <Application>Microsoft Office PowerPoint</Application>
  <PresentationFormat>Widescreen</PresentationFormat>
  <Paragraphs>201</Paragraphs>
  <Slides>31</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1</vt:i4>
      </vt:variant>
    </vt:vector>
  </HeadingPairs>
  <TitlesOfParts>
    <vt:vector size="36" baseType="lpstr">
      <vt:lpstr>Calibri</vt:lpstr>
      <vt:lpstr>Consolas</vt:lpstr>
      <vt:lpstr>Franklin Gothic Book</vt:lpstr>
      <vt:lpstr>Wingdings</vt:lpstr>
      <vt:lpstr>Crop</vt:lpstr>
      <vt:lpstr>      Angular 6</vt:lpstr>
      <vt:lpstr>Objectives</vt:lpstr>
      <vt:lpstr>Introduction to Angular Framework</vt:lpstr>
      <vt:lpstr>Introduction to Angular Framework</vt:lpstr>
      <vt:lpstr>Angular Framework…</vt:lpstr>
      <vt:lpstr>Angular Framework…</vt:lpstr>
      <vt:lpstr>Angular-History</vt:lpstr>
      <vt:lpstr>PowerPoint Presentation</vt:lpstr>
      <vt:lpstr>PowerPoint Presentation</vt:lpstr>
      <vt:lpstr>Angular Features</vt:lpstr>
      <vt:lpstr>Building Blocks</vt:lpstr>
      <vt:lpstr>PowerPoint Presentation</vt:lpstr>
      <vt:lpstr>Modules</vt:lpstr>
      <vt:lpstr>Angular libraries</vt:lpstr>
      <vt:lpstr>Component</vt:lpstr>
      <vt:lpstr>PowerPoint Presentation</vt:lpstr>
      <vt:lpstr>Environment Setup </vt:lpstr>
      <vt:lpstr>Create a new Angular application</vt:lpstr>
      <vt:lpstr>PowerPoint Presentation</vt:lpstr>
      <vt:lpstr>PowerPoint Presentation</vt:lpstr>
      <vt:lpstr>PowerPoint Presentation</vt:lpstr>
      <vt:lpstr>PowerPoint Presentation</vt:lpstr>
      <vt:lpstr>PowerPoint Presentation</vt:lpstr>
      <vt:lpstr>Project folder structure</vt:lpstr>
      <vt:lpstr>App</vt:lpstr>
      <vt:lpstr>AppModule</vt:lpstr>
      <vt:lpstr>PowerPoint Presentation</vt:lpstr>
      <vt:lpstr>How Angular Works</vt:lpstr>
      <vt:lpstr>How Angular Works</vt:lpstr>
      <vt:lpstr>How Angular Work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48</cp:revision>
  <dcterms:created xsi:type="dcterms:W3CDTF">2017-07-28T13:43:20Z</dcterms:created>
  <dcterms:modified xsi:type="dcterms:W3CDTF">2019-02-15T12:2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